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5"/>
  </p:sldMasterIdLst>
  <p:notesMasterIdLst>
    <p:notesMasterId r:id="rId26"/>
  </p:notesMasterIdLst>
  <p:handoutMasterIdLst>
    <p:handoutMasterId r:id="rId27"/>
  </p:handoutMasterIdLst>
  <p:sldIdLst>
    <p:sldId id="10222" r:id="rId6"/>
    <p:sldId id="10220" r:id="rId7"/>
    <p:sldId id="3087" r:id="rId8"/>
    <p:sldId id="10228" r:id="rId9"/>
    <p:sldId id="3092" r:id="rId10"/>
    <p:sldId id="3093" r:id="rId11"/>
    <p:sldId id="10221" r:id="rId12"/>
    <p:sldId id="10265" r:id="rId13"/>
    <p:sldId id="1786" r:id="rId14"/>
    <p:sldId id="10236" r:id="rId15"/>
    <p:sldId id="10237" r:id="rId16"/>
    <p:sldId id="10238" r:id="rId17"/>
    <p:sldId id="10240" r:id="rId18"/>
    <p:sldId id="10241" r:id="rId19"/>
    <p:sldId id="10267" r:id="rId20"/>
    <p:sldId id="10268" r:id="rId21"/>
    <p:sldId id="10266" r:id="rId22"/>
    <p:sldId id="10258" r:id="rId23"/>
    <p:sldId id="1796" r:id="rId24"/>
    <p:sldId id="1798" r:id="rId25"/>
  </p:sldIdLst>
  <p:sldSz cx="12192000" cy="6858000"/>
  <p:notesSz cx="6858000" cy="9144000"/>
  <p:embeddedFontLst>
    <p:embeddedFont>
      <p:font typeface="Calibri" panose="020F0502020204030204" pitchFamily="34" charset="0"/>
      <p:regular r:id="rId28"/>
      <p:bold r:id="rId29"/>
      <p:italic r:id="rId30"/>
      <p:boldItalic r:id="rId31"/>
    </p:embeddedFont>
    <p:embeddedFont>
      <p:font typeface="Calibri Light" panose="020F0302020204030204" pitchFamily="34" charset="0"/>
      <p:regular r:id="rId32"/>
      <p:italic r:id="rId33"/>
    </p:embeddedFont>
    <p:embeddedFont>
      <p:font typeface="Segoe UI" panose="020B0502040204020203" pitchFamily="34" charset="0"/>
      <p:regular r:id="rId34"/>
      <p:bold r:id="rId35"/>
      <p:italic r:id="rId36"/>
      <p:boldItalic r:id="rId37"/>
    </p:embeddedFont>
    <p:embeddedFont>
      <p:font typeface="Segoe UI Semibold" panose="020B0702040204020203" pitchFamily="34" charset="0"/>
      <p:bold r:id="rId38"/>
      <p:boldItalic r:id="rId39"/>
    </p:embeddedFont>
  </p:embeddedFontLst>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221B1A5-D364-4F35-B9BF-77E769BA318D}">
          <p14:sldIdLst>
            <p14:sldId id="10222"/>
            <p14:sldId id="10220"/>
            <p14:sldId id="3087"/>
            <p14:sldId id="10228"/>
            <p14:sldId id="3092"/>
            <p14:sldId id="3093"/>
          </p14:sldIdLst>
        </p14:section>
        <p14:section name="Planning" id="{3569AC3B-6E95-4305-9FCF-C8F684496E75}">
          <p14:sldIdLst>
            <p14:sldId id="10221"/>
            <p14:sldId id="10265"/>
            <p14:sldId id="1786"/>
            <p14:sldId id="10236"/>
            <p14:sldId id="10237"/>
          </p14:sldIdLst>
        </p14:section>
        <p14:section name="Solution Strategy" id="{C5235239-80D5-4311-A7DD-377219183FA7}">
          <p14:sldIdLst>
            <p14:sldId id="10238"/>
            <p14:sldId id="10240"/>
            <p14:sldId id="10241"/>
            <p14:sldId id="10267"/>
            <p14:sldId id="10268"/>
            <p14:sldId id="10266"/>
            <p14:sldId id="10258"/>
          </p14:sldIdLst>
        </p14:section>
        <p14:section name="QA" id="{CFC9A3CD-4299-4C0E-9896-27E1BC71DAF2}">
          <p14:sldIdLst>
            <p14:sldId id="1796"/>
            <p14:sldId id="179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AEDAAC8-0530-2237-4664-9A046A131C40}" name="Rich Black" initials="RB" userId="S::riblack@microsoft.com::b49cc34d-059b-4351-ba76-9f03c1133ec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ulie Neiley" initials="JN" lastIdx="7" clrIdx="0">
    <p:extLst>
      <p:ext uri="{19B8F6BF-5375-455C-9EA6-DF929625EA0E}">
        <p15:presenceInfo xmlns:p15="http://schemas.microsoft.com/office/powerpoint/2012/main" userId="S::juneiley@microsoft.com::af98ba14-8982-42eb-8fbe-118df68fa5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E7CF"/>
    <a:srgbClr val="008272"/>
    <a:srgbClr val="3D3D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8860" autoAdjust="0"/>
  </p:normalViewPr>
  <p:slideViewPr>
    <p:cSldViewPr snapToGrid="0">
      <p:cViewPr varScale="1">
        <p:scale>
          <a:sx n="67" d="100"/>
          <a:sy n="67" d="100"/>
        </p:scale>
        <p:origin x="420" y="7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9" Type="http://schemas.openxmlformats.org/officeDocument/2006/relationships/font" Target="fonts/font12.fntdata"/><Relationship Id="rId21" Type="http://schemas.openxmlformats.org/officeDocument/2006/relationships/slide" Target="slides/slide16.xml"/><Relationship Id="rId34" Type="http://schemas.openxmlformats.org/officeDocument/2006/relationships/font" Target="fonts/font7.fntdata"/><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font" Target="fonts/font2.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5.fntdata"/><Relationship Id="rId37" Type="http://schemas.openxmlformats.org/officeDocument/2006/relationships/font" Target="fonts/font10.fntdata"/><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font" Target="fonts/font1.fntdata"/><Relationship Id="rId36" Type="http://schemas.openxmlformats.org/officeDocument/2006/relationships/font" Target="fonts/font9.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4.fntdata"/><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font" Target="fonts/font8.fntdata"/><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6.fntdata"/><Relationship Id="rId38" Type="http://schemas.openxmlformats.org/officeDocument/2006/relationships/font" Target="fonts/font11.fntdata"/><Relationship Id="rId46"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zwan Asif" userId="4277ba50-42ad-46bb-808b-f020aa815f77" providerId="ADAL" clId="{76D651C6-51D7-4F49-8391-609A0AF92F7F}"/>
    <pc:docChg chg="modSld sldOrd">
      <pc:chgData name="Rizwan Asif" userId="4277ba50-42ad-46bb-808b-f020aa815f77" providerId="ADAL" clId="{76D651C6-51D7-4F49-8391-609A0AF92F7F}" dt="2021-04-01T20:53:56.038" v="1"/>
      <pc:docMkLst>
        <pc:docMk/>
      </pc:docMkLst>
      <pc:sldChg chg="ord">
        <pc:chgData name="Rizwan Asif" userId="4277ba50-42ad-46bb-808b-f020aa815f77" providerId="ADAL" clId="{76D651C6-51D7-4F49-8391-609A0AF92F7F}" dt="2021-04-01T20:53:56.038" v="1"/>
        <pc:sldMkLst>
          <pc:docMk/>
          <pc:sldMk cId="2567493441" sldId="3087"/>
        </pc:sldMkLst>
      </pc:sldChg>
    </pc:docChg>
  </pc:docChgLst>
  <pc:docChgLst>
    <pc:chgData name="Rizwan Asif" userId="4277ba50-42ad-46bb-808b-f020aa815f77" providerId="ADAL" clId="{A0A0458C-A056-411F-9E28-AB305E55597B}"/>
    <pc:docChg chg="modSld">
      <pc:chgData name="Rizwan Asif" userId="4277ba50-42ad-46bb-808b-f020aa815f77" providerId="ADAL" clId="{A0A0458C-A056-411F-9E28-AB305E55597B}" dt="2021-06-14T22:44:42.122" v="0" actId="13926"/>
      <pc:docMkLst>
        <pc:docMk/>
      </pc:docMkLst>
      <pc:sldChg chg="modSp mod">
        <pc:chgData name="Rizwan Asif" userId="4277ba50-42ad-46bb-808b-f020aa815f77" providerId="ADAL" clId="{A0A0458C-A056-411F-9E28-AB305E55597B}" dt="2021-06-14T22:44:42.122" v="0" actId="13926"/>
        <pc:sldMkLst>
          <pc:docMk/>
          <pc:sldMk cId="1311971346" sldId="10228"/>
        </pc:sldMkLst>
        <pc:spChg chg="mod">
          <ac:chgData name="Rizwan Asif" userId="4277ba50-42ad-46bb-808b-f020aa815f77" providerId="ADAL" clId="{A0A0458C-A056-411F-9E28-AB305E55597B}" dt="2021-06-14T22:44:42.122" v="0" actId="13926"/>
          <ac:spMkLst>
            <pc:docMk/>
            <pc:sldMk cId="1311971346" sldId="10228"/>
            <ac:spMk id="103" creationId="{58D773B7-673F-419E-B0B9-B5B66FF34DCD}"/>
          </ac:spMkLst>
        </pc:spChg>
      </pc:sldChg>
    </pc:docChg>
  </pc:docChgLst>
  <pc:docChgLst>
    <pc:chgData name="Rizwan Asif" userId="4277ba50-42ad-46bb-808b-f020aa815f77" providerId="ADAL" clId="{BF10151A-6C33-429A-9398-7A3380047F7B}"/>
    <pc:docChg chg="modSld">
      <pc:chgData name="Rizwan Asif" userId="4277ba50-42ad-46bb-808b-f020aa815f77" providerId="ADAL" clId="{BF10151A-6C33-429A-9398-7A3380047F7B}" dt="2021-05-18T20:27:42.583" v="0" actId="20577"/>
      <pc:docMkLst>
        <pc:docMk/>
      </pc:docMkLst>
      <pc:sldChg chg="modNotesTx">
        <pc:chgData name="Rizwan Asif" userId="4277ba50-42ad-46bb-808b-f020aa815f77" providerId="ADAL" clId="{BF10151A-6C33-429A-9398-7A3380047F7B}" dt="2021-05-18T20:27:42.583" v="0" actId="20577"/>
        <pc:sldMkLst>
          <pc:docMk/>
          <pc:sldMk cId="1857253849" sldId="10220"/>
        </pc:sldMkLst>
      </pc:sldChg>
    </pc:docChg>
  </pc:docChgLst>
  <pc:docChgLst>
    <pc:chgData name="Jila Yadav" userId="2bc4a56e-4d60-4cdb-8888-50ac7d858268" providerId="ADAL" clId="{1CDD2A9F-0C0B-4FCE-82C3-CE9587F786FD}"/>
    <pc:docChg chg="modSld">
      <pc:chgData name="Jila Yadav" userId="2bc4a56e-4d60-4cdb-8888-50ac7d858268" providerId="ADAL" clId="{1CDD2A9F-0C0B-4FCE-82C3-CE9587F786FD}" dt="2021-04-01T23:23:30.429" v="69" actId="20577"/>
      <pc:docMkLst>
        <pc:docMk/>
      </pc:docMkLst>
      <pc:sldChg chg="delCm">
        <pc:chgData name="Jila Yadav" userId="2bc4a56e-4d60-4cdb-8888-50ac7d858268" providerId="ADAL" clId="{1CDD2A9F-0C0B-4FCE-82C3-CE9587F786FD}" dt="2021-03-29T22:23:26.910" v="1"/>
        <pc:sldMkLst>
          <pc:docMk/>
          <pc:sldMk cId="3300356148" sldId="10222"/>
        </pc:sldMkLst>
      </pc:sldChg>
      <pc:sldChg chg="modSp mod">
        <pc:chgData name="Jila Yadav" userId="2bc4a56e-4d60-4cdb-8888-50ac7d858268" providerId="ADAL" clId="{1CDD2A9F-0C0B-4FCE-82C3-CE9587F786FD}" dt="2021-04-01T21:30:58.244" v="3" actId="20577"/>
        <pc:sldMkLst>
          <pc:docMk/>
          <pc:sldMk cId="2941868265" sldId="10265"/>
        </pc:sldMkLst>
        <pc:spChg chg="mod">
          <ac:chgData name="Jila Yadav" userId="2bc4a56e-4d60-4cdb-8888-50ac7d858268" providerId="ADAL" clId="{1CDD2A9F-0C0B-4FCE-82C3-CE9587F786FD}" dt="2021-04-01T21:30:58.244" v="3" actId="20577"/>
          <ac:spMkLst>
            <pc:docMk/>
            <pc:sldMk cId="2941868265" sldId="10265"/>
            <ac:spMk id="2" creationId="{45010FE8-BF09-4146-B084-66CB05B66FD9}"/>
          </ac:spMkLst>
        </pc:spChg>
      </pc:sldChg>
      <pc:sldChg chg="modSp mod">
        <pc:chgData name="Jila Yadav" userId="2bc4a56e-4d60-4cdb-8888-50ac7d858268" providerId="ADAL" clId="{1CDD2A9F-0C0B-4FCE-82C3-CE9587F786FD}" dt="2021-04-01T23:23:00.792" v="27" actId="6549"/>
        <pc:sldMkLst>
          <pc:docMk/>
          <pc:sldMk cId="875196317" sldId="10267"/>
        </pc:sldMkLst>
        <pc:spChg chg="mod">
          <ac:chgData name="Jila Yadav" userId="2bc4a56e-4d60-4cdb-8888-50ac7d858268" providerId="ADAL" clId="{1CDD2A9F-0C0B-4FCE-82C3-CE9587F786FD}" dt="2021-04-01T23:23:00.792" v="27" actId="6549"/>
          <ac:spMkLst>
            <pc:docMk/>
            <pc:sldMk cId="875196317" sldId="10267"/>
            <ac:spMk id="2" creationId="{45010FE8-BF09-4146-B084-66CB05B66FD9}"/>
          </ac:spMkLst>
        </pc:spChg>
      </pc:sldChg>
      <pc:sldChg chg="modSp mod">
        <pc:chgData name="Jila Yadav" userId="2bc4a56e-4d60-4cdb-8888-50ac7d858268" providerId="ADAL" clId="{1CDD2A9F-0C0B-4FCE-82C3-CE9587F786FD}" dt="2021-04-01T23:23:30.429" v="69" actId="20577"/>
        <pc:sldMkLst>
          <pc:docMk/>
          <pc:sldMk cId="2653685604" sldId="10268"/>
        </pc:sldMkLst>
        <pc:spChg chg="mod">
          <ac:chgData name="Jila Yadav" userId="2bc4a56e-4d60-4cdb-8888-50ac7d858268" providerId="ADAL" clId="{1CDD2A9F-0C0B-4FCE-82C3-CE9587F786FD}" dt="2021-04-01T23:23:30.429" v="69" actId="20577"/>
          <ac:spMkLst>
            <pc:docMk/>
            <pc:sldMk cId="2653685604" sldId="10268"/>
            <ac:spMk id="2" creationId="{45010FE8-BF09-4146-B084-66CB05B66FD9}"/>
          </ac:spMkLst>
        </pc:spChg>
      </pc:sldChg>
    </pc:docChg>
  </pc:docChgLst>
  <pc:docChgLst>
    <pc:chgData name="Timo Gossen" userId="4ec7f864-84f7-407f-b8f9-5c31d0de0089" providerId="ADAL" clId="{65B78A09-0A9D-481D-AD77-3D92BB9EDA26}"/>
    <pc:docChg chg="">
      <pc:chgData name="Timo Gossen" userId="4ec7f864-84f7-407f-b8f9-5c31d0de0089" providerId="ADAL" clId="{65B78A09-0A9D-481D-AD77-3D92BB9EDA26}" dt="2021-06-29T11:13:43.895" v="8" actId="2696"/>
      <pc:docMkLst>
        <pc:docMk/>
      </pc:docMkLst>
      <pc:sldMasterChg chg="delSldLayout">
        <pc:chgData name="Timo Gossen" userId="4ec7f864-84f7-407f-b8f9-5c31d0de0089" providerId="ADAL" clId="{65B78A09-0A9D-481D-AD77-3D92BB9EDA26}" dt="2021-06-29T11:13:43.895" v="8" actId="2696"/>
        <pc:sldMasterMkLst>
          <pc:docMk/>
          <pc:sldMasterMk cId="993860654" sldId="2147483660"/>
        </pc:sldMasterMkLst>
        <pc:sldLayoutChg chg="del">
          <pc:chgData name="Timo Gossen" userId="4ec7f864-84f7-407f-b8f9-5c31d0de0089" providerId="ADAL" clId="{65B78A09-0A9D-481D-AD77-3D92BB9EDA26}" dt="2021-06-29T11:13:43.792" v="3" actId="2696"/>
          <pc:sldLayoutMkLst>
            <pc:docMk/>
            <pc:sldMasterMk cId="993860654" sldId="2147483660"/>
            <pc:sldLayoutMk cId="2598775765" sldId="2147483662"/>
          </pc:sldLayoutMkLst>
        </pc:sldLayoutChg>
        <pc:sldLayoutChg chg="del">
          <pc:chgData name="Timo Gossen" userId="4ec7f864-84f7-407f-b8f9-5c31d0de0089" providerId="ADAL" clId="{65B78A09-0A9D-481D-AD77-3D92BB9EDA26}" dt="2021-06-29T11:13:43.812" v="4" actId="2696"/>
          <pc:sldLayoutMkLst>
            <pc:docMk/>
            <pc:sldMasterMk cId="993860654" sldId="2147483660"/>
            <pc:sldLayoutMk cId="3183520521" sldId="2147483663"/>
          </pc:sldLayoutMkLst>
        </pc:sldLayoutChg>
        <pc:sldLayoutChg chg="del">
          <pc:chgData name="Timo Gossen" userId="4ec7f864-84f7-407f-b8f9-5c31d0de0089" providerId="ADAL" clId="{65B78A09-0A9D-481D-AD77-3D92BB9EDA26}" dt="2021-06-29T11:13:43.837" v="5" actId="2696"/>
          <pc:sldLayoutMkLst>
            <pc:docMk/>
            <pc:sldMasterMk cId="993860654" sldId="2147483660"/>
            <pc:sldLayoutMk cId="1521358024" sldId="2147483664"/>
          </pc:sldLayoutMkLst>
        </pc:sldLayoutChg>
        <pc:sldLayoutChg chg="del">
          <pc:chgData name="Timo Gossen" userId="4ec7f864-84f7-407f-b8f9-5c31d0de0089" providerId="ADAL" clId="{65B78A09-0A9D-481D-AD77-3D92BB9EDA26}" dt="2021-06-29T11:13:43.859" v="6" actId="2696"/>
          <pc:sldLayoutMkLst>
            <pc:docMk/>
            <pc:sldMasterMk cId="993860654" sldId="2147483660"/>
            <pc:sldLayoutMk cId="1225714022" sldId="2147483665"/>
          </pc:sldLayoutMkLst>
        </pc:sldLayoutChg>
        <pc:sldLayoutChg chg="del">
          <pc:chgData name="Timo Gossen" userId="4ec7f864-84f7-407f-b8f9-5c31d0de0089" providerId="ADAL" clId="{65B78A09-0A9D-481D-AD77-3D92BB9EDA26}" dt="2021-06-29T11:13:43.878" v="7" actId="2696"/>
          <pc:sldLayoutMkLst>
            <pc:docMk/>
            <pc:sldMasterMk cId="993860654" sldId="2147483660"/>
            <pc:sldLayoutMk cId="1043588750" sldId="2147483666"/>
          </pc:sldLayoutMkLst>
        </pc:sldLayoutChg>
        <pc:sldLayoutChg chg="del">
          <pc:chgData name="Timo Gossen" userId="4ec7f864-84f7-407f-b8f9-5c31d0de0089" providerId="ADAL" clId="{65B78A09-0A9D-481D-AD77-3D92BB9EDA26}" dt="2021-06-29T11:13:43.895" v="8" actId="2696"/>
          <pc:sldLayoutMkLst>
            <pc:docMk/>
            <pc:sldMasterMk cId="993860654" sldId="2147483660"/>
            <pc:sldLayoutMk cId="2295730854" sldId="2147483667"/>
          </pc:sldLayoutMkLst>
        </pc:sldLayoutChg>
        <pc:sldLayoutChg chg="del">
          <pc:chgData name="Timo Gossen" userId="4ec7f864-84f7-407f-b8f9-5c31d0de0089" providerId="ADAL" clId="{65B78A09-0A9D-481D-AD77-3D92BB9EDA26}" dt="2021-06-29T11:13:43.749" v="0" actId="2696"/>
          <pc:sldLayoutMkLst>
            <pc:docMk/>
            <pc:sldMasterMk cId="993860654" sldId="2147483660"/>
            <pc:sldLayoutMk cId="3942002283" sldId="2147483679"/>
          </pc:sldLayoutMkLst>
        </pc:sldLayoutChg>
        <pc:sldLayoutChg chg="del">
          <pc:chgData name="Timo Gossen" userId="4ec7f864-84f7-407f-b8f9-5c31d0de0089" providerId="ADAL" clId="{65B78A09-0A9D-481D-AD77-3D92BB9EDA26}" dt="2021-06-29T11:13:43.772" v="2" actId="2696"/>
          <pc:sldLayoutMkLst>
            <pc:docMk/>
            <pc:sldMasterMk cId="993860654" sldId="2147483660"/>
            <pc:sldLayoutMk cId="1244579940" sldId="2147483703"/>
          </pc:sldLayoutMkLst>
        </pc:sldLayoutChg>
        <pc:sldLayoutChg chg="del">
          <pc:chgData name="Timo Gossen" userId="4ec7f864-84f7-407f-b8f9-5c31d0de0089" providerId="ADAL" clId="{65B78A09-0A9D-481D-AD77-3D92BB9EDA26}" dt="2021-06-29T11:13:43.752" v="1" actId="2696"/>
          <pc:sldLayoutMkLst>
            <pc:docMk/>
            <pc:sldMasterMk cId="993860654" sldId="2147483660"/>
            <pc:sldLayoutMk cId="4197639878" sldId="2147483706"/>
          </pc:sldLayoutMkLst>
        </pc:sldLayoutChg>
      </pc:sldMasterChg>
    </pc:docChg>
  </pc:docChgLst>
  <pc:docChgLst>
    <pc:chgData name="Jila Yadav" userId="2bc4a56e-4d60-4cdb-8888-50ac7d858268" providerId="ADAL" clId="{72C80F68-3069-48D3-89C4-C82395400DCE}"/>
    <pc:docChg chg="modSld">
      <pc:chgData name="Jila Yadav" userId="2bc4a56e-4d60-4cdb-8888-50ac7d858268" providerId="ADAL" clId="{72C80F68-3069-48D3-89C4-C82395400DCE}" dt="2021-05-06T19:38:40.852" v="0"/>
      <pc:docMkLst>
        <pc:docMk/>
      </pc:docMkLst>
      <pc:sldChg chg="modSp">
        <pc:chgData name="Jila Yadav" userId="2bc4a56e-4d60-4cdb-8888-50ac7d858268" providerId="ADAL" clId="{72C80F68-3069-48D3-89C4-C82395400DCE}" dt="2021-05-06T19:38:40.852" v="0"/>
        <pc:sldMkLst>
          <pc:docMk/>
          <pc:sldMk cId="1018732749" sldId="10237"/>
        </pc:sldMkLst>
        <pc:graphicFrameChg chg="mod">
          <ac:chgData name="Jila Yadav" userId="2bc4a56e-4d60-4cdb-8888-50ac7d858268" providerId="ADAL" clId="{72C80F68-3069-48D3-89C4-C82395400DCE}" dt="2021-05-06T19:38:40.852" v="0"/>
          <ac:graphicFrameMkLst>
            <pc:docMk/>
            <pc:sldMk cId="1018732749" sldId="10237"/>
            <ac:graphicFrameMk id="4" creationId="{0A129B0B-4A50-4C77-8DD0-1DD687A08358}"/>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2EC9A59-2D54-4EB5-A21F-8B0704F6F4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161193E-CD2D-4EBD-BB6B-DAF2B64F917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081934B-9E7B-47BD-9E11-CD9D0B990116}" type="datetimeFigureOut">
              <a:rPr lang="en-US" smtClean="0"/>
              <a:t>11/24/2021</a:t>
            </a:fld>
            <a:endParaRPr lang="en-US"/>
          </a:p>
        </p:txBody>
      </p:sp>
      <p:sp>
        <p:nvSpPr>
          <p:cNvPr id="4" name="Footer Placeholder 3">
            <a:extLst>
              <a:ext uri="{FF2B5EF4-FFF2-40B4-BE49-F238E27FC236}">
                <a16:creationId xmlns:a16="http://schemas.microsoft.com/office/drawing/2014/main" id="{F85FB0A6-1F75-44FD-8F68-A2AAA1D59D5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25F2C96-14CF-48ED-BA80-70B9F297D56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0808807-CD91-4D83-9199-4BCB992AB271}" type="slidenum">
              <a:rPr lang="en-US" smtClean="0"/>
              <a:t>‹#›</a:t>
            </a:fld>
            <a:endParaRPr lang="en-US"/>
          </a:p>
        </p:txBody>
      </p:sp>
    </p:spTree>
    <p:extLst>
      <p:ext uri="{BB962C8B-B14F-4D97-AF65-F5344CB8AC3E}">
        <p14:creationId xmlns:p14="http://schemas.microsoft.com/office/powerpoint/2010/main" val="910960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5AA970-998E-44B5-A973-040C3B8B3432}" type="datetimeFigureOut">
              <a:rPr lang="en-US" smtClean="0"/>
              <a:t>11/2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66B356-2F22-40D0-A92B-C8127227BBA1}" type="slidenum">
              <a:rPr lang="en-US" smtClean="0"/>
              <a:t>‹#›</a:t>
            </a:fld>
            <a:endParaRPr lang="en-US"/>
          </a:p>
        </p:txBody>
      </p:sp>
    </p:spTree>
    <p:extLst>
      <p:ext uri="{BB962C8B-B14F-4D97-AF65-F5344CB8AC3E}">
        <p14:creationId xmlns:p14="http://schemas.microsoft.com/office/powerpoint/2010/main" val="10273857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dynamics365/finance/finance-insights/finance-insights-home-page"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F0E8ADD-5317-4C14-B1BC-530D7C569EEA}" type="datetime8">
              <a:rPr lang="en-US" smtClean="0"/>
              <a:t>11/24/2021 9:03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85362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1</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1. What is your solution strategy to solve self-serve reporting requirements ?</a:t>
            </a:r>
          </a:p>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3</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tx1"/>
              </a:solidFill>
              <a:highlight>
                <a:srgbClr val="FFFF00"/>
              </a:highlight>
              <a:latin typeface="Segoe UI" panose="020B0502040204020203" pitchFamily="34" charset="0"/>
            </a:endParaRPr>
          </a:p>
          <a:p>
            <a:pPr algn="l" rtl="0" fontAlgn="base"/>
            <a:r>
              <a:rPr lang="en-US" sz="1200">
                <a:solidFill>
                  <a:schemeClr val="tx1"/>
                </a:solidFill>
                <a:highlight>
                  <a:srgbClr val="FFFF00"/>
                </a:highlight>
                <a:latin typeface="Segoe UI" panose="020B0502040204020203" pitchFamily="34" charset="0"/>
              </a:rPr>
              <a:t>1. </a:t>
            </a:r>
            <a:r>
              <a:rPr lang="en-GB" sz="1200" b="0" i="0" u="none" strike="noStrike">
                <a:solidFill>
                  <a:srgbClr val="505050"/>
                </a:solidFill>
                <a:effectLst/>
                <a:highlight>
                  <a:srgbClr val="FFFF00"/>
                </a:highlight>
                <a:latin typeface="Segoe UI" panose="020B0502040204020203" pitchFamily="34" charset="0"/>
              </a:rPr>
              <a:t>How are you planning to solve the </a:t>
            </a:r>
            <a:r>
              <a:rPr lang="en-GB" sz="1200">
                <a:solidFill>
                  <a:srgbClr val="505050"/>
                </a:solidFill>
                <a:highlight>
                  <a:srgbClr val="FFFF00"/>
                </a:highlight>
                <a:latin typeface="Segoe UI" panose="020B0502040204020203" pitchFamily="34" charset="0"/>
              </a:rPr>
              <a:t>g</a:t>
            </a:r>
            <a:r>
              <a:rPr lang="en-GB" sz="1200" b="0" i="0" u="none" strike="noStrike">
                <a:solidFill>
                  <a:srgbClr val="505050"/>
                </a:solidFill>
                <a:effectLst/>
                <a:highlight>
                  <a:srgbClr val="FFFF00"/>
                </a:highlight>
                <a:latin typeface="Segoe UI" panose="020B0502040204020203" pitchFamily="34" charset="0"/>
              </a:rPr>
              <a:t>aps as example through developing </a:t>
            </a:r>
            <a:r>
              <a:rPr lang="en-GB" sz="1200">
                <a:solidFill>
                  <a:srgbClr val="505050"/>
                </a:solidFill>
                <a:highlight>
                  <a:srgbClr val="FFFF00"/>
                </a:highlight>
                <a:latin typeface="Segoe UI" panose="020B0502040204020203" pitchFamily="34" charset="0"/>
              </a:rPr>
              <a:t>d</a:t>
            </a:r>
            <a:r>
              <a:rPr lang="en-GB" sz="1200" b="0" i="0" u="none" strike="noStrike">
                <a:solidFill>
                  <a:srgbClr val="505050"/>
                </a:solidFill>
                <a:effectLst/>
                <a:highlight>
                  <a:srgbClr val="FFFF00"/>
                </a:highlight>
                <a:latin typeface="Segoe UI" panose="020B0502040204020203" pitchFamily="34" charset="0"/>
              </a:rPr>
              <a:t>ashboards</a:t>
            </a:r>
            <a:r>
              <a:rPr lang="en-GB" sz="1200">
                <a:solidFill>
                  <a:srgbClr val="505050"/>
                </a:solidFill>
                <a:highlight>
                  <a:srgbClr val="FFFF00"/>
                </a:highlight>
                <a:latin typeface="Segoe UI" panose="020B0502040204020203" pitchFamily="34" charset="0"/>
              </a:rPr>
              <a:t>/w</a:t>
            </a:r>
            <a:r>
              <a:rPr lang="en-GB" sz="1200" b="0" i="0" u="none" strike="noStrike">
                <a:solidFill>
                  <a:srgbClr val="505050"/>
                </a:solidFill>
                <a:effectLst/>
                <a:highlight>
                  <a:srgbClr val="FFFF00"/>
                </a:highlight>
                <a:latin typeface="Segoe UI" panose="020B0502040204020203" pitchFamily="34" charset="0"/>
              </a:rPr>
              <a:t>orkspaces, list pages, saved views, reports or ISV solu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highlight>
                  <a:srgbClr val="FFFF00"/>
                </a:highlight>
                <a:latin typeface="Segoe UI" panose="020B0502040204020203" pitchFamily="34" charset="0"/>
              </a:rPr>
              <a:t>2. What is your solution strategy to business documents – such as Purchase orders, Sales order invoice </a:t>
            </a:r>
            <a:r>
              <a:rPr lang="en-US" sz="1200" err="1">
                <a:solidFill>
                  <a:schemeClr val="tx1"/>
                </a:solidFill>
                <a:highlight>
                  <a:srgbClr val="FFFF00"/>
                </a:highlight>
                <a:latin typeface="Segoe UI" panose="020B0502040204020203" pitchFamily="34" charset="0"/>
              </a:rPr>
              <a:t>etc</a:t>
            </a:r>
            <a:r>
              <a:rPr lang="en-US" sz="1200">
                <a:solidFill>
                  <a:schemeClr val="tx1"/>
                </a:solidFill>
                <a:highlight>
                  <a:srgbClr val="FFFF00"/>
                </a:highlight>
                <a:latin typeface="Segoe UI" panose="020B0502040204020203" pitchFamily="34" charset="0"/>
              </a:rPr>
              <a:t> (F&amp;O) ?</a:t>
            </a:r>
          </a:p>
          <a:p>
            <a:endParaRPr lang="en-US"/>
          </a:p>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4</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0" i="0" u="none" strike="noStrike">
                <a:solidFill>
                  <a:srgbClr val="505050"/>
                </a:solidFill>
                <a:effectLst/>
                <a:highlight>
                  <a:srgbClr val="FFFF00"/>
                </a:highlight>
                <a:latin typeface="Segoe UI" panose="020B0502040204020203" pitchFamily="34" charset="0"/>
              </a:rPr>
              <a:t>Please provide answer to following question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GB" sz="1200" b="0" i="0" u="none" strike="noStrike">
              <a:solidFill>
                <a:srgbClr val="505050"/>
              </a:solidFill>
              <a:effectLst/>
              <a:highlight>
                <a:srgbClr val="FFFF00"/>
              </a:highlight>
              <a:latin typeface="Segoe UI" panose="020B0502040204020203" pitchFamily="34" charset="0"/>
            </a:endParaRPr>
          </a:p>
          <a:p>
            <a:pPr marL="228600" indent="-228600">
              <a:buAutoNum type="arabicPeriod"/>
            </a:pPr>
            <a:r>
              <a:rPr lang="en-US" sz="1200">
                <a:solidFill>
                  <a:schemeClr val="tx1"/>
                </a:solidFill>
                <a:highlight>
                  <a:srgbClr val="FFFF00"/>
                </a:highlight>
                <a:latin typeface="Segoe UI" panose="020B0502040204020203" pitchFamily="34" charset="0"/>
              </a:rPr>
              <a:t>What is the solution strategy to solve regulatory reporting </a:t>
            </a:r>
            <a:r>
              <a:rPr lang="en-GB" sz="1200">
                <a:solidFill>
                  <a:schemeClr val="tx1"/>
                </a:solidFill>
                <a:highlight>
                  <a:srgbClr val="FFFF00"/>
                </a:highlight>
                <a:latin typeface="Segoe UI" panose="020B0502040204020203" pitchFamily="34" charset="0"/>
              </a:rPr>
              <a:t>such </a:t>
            </a:r>
            <a:r>
              <a:rPr lang="en-GB" sz="1200" b="0" i="0" u="none" strike="noStrike">
                <a:solidFill>
                  <a:schemeClr val="tx1"/>
                </a:solidFill>
                <a:effectLst/>
                <a:highlight>
                  <a:srgbClr val="FFFF00"/>
                </a:highlight>
                <a:latin typeface="Segoe UI" panose="020B0502040204020203" pitchFamily="34" charset="0"/>
              </a:rPr>
              <a:t>as </a:t>
            </a:r>
            <a:r>
              <a:rPr lang="en-GB" sz="1200">
                <a:solidFill>
                  <a:schemeClr val="tx1"/>
                </a:solidFill>
                <a:highlight>
                  <a:srgbClr val="FFFF00"/>
                </a:highlight>
                <a:latin typeface="Segoe UI" panose="020B0502040204020203" pitchFamily="34" charset="0"/>
              </a:rPr>
              <a:t>sending and receiving</a:t>
            </a:r>
            <a:r>
              <a:rPr lang="en-GB" sz="1200" b="0" i="0" u="none" strike="noStrike">
                <a:solidFill>
                  <a:schemeClr val="tx1"/>
                </a:solidFill>
                <a:effectLst/>
                <a:highlight>
                  <a:srgbClr val="FFFF00"/>
                </a:highlight>
                <a:latin typeface="Segoe UI" panose="020B0502040204020203" pitchFamily="34" charset="0"/>
              </a:rPr>
              <a:t> documents from tax, government and other regulatory authorities. Provide details around if you plan to utilize electronic reporting module to configure such requirement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200" b="0" i="0" u="none" strike="noStrike">
                <a:solidFill>
                  <a:schemeClr val="tx1"/>
                </a:solidFill>
                <a:effectLst/>
                <a:highlight>
                  <a:srgbClr val="FFFF00"/>
                </a:highlight>
                <a:latin typeface="Segoe UI" panose="020B0502040204020203" pitchFamily="34" charset="0"/>
              </a:rPr>
              <a:t>Provide information about the tools and solution being used for financial consolidation and reporting for example financial reporting within Dynamics 365 or other solution such as Hyperion. If using financial reporting, provide details around number of reports , transaction volume, users. If using external application provide details around data integration solution from Dynamics 365.</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200">
                <a:solidFill>
                  <a:schemeClr val="tx1"/>
                </a:solidFill>
                <a:highlight>
                  <a:srgbClr val="FFFF00"/>
                </a:highlight>
                <a:latin typeface="Segoe UI" panose="020B0502040204020203" pitchFamily="34" charset="0"/>
              </a:rPr>
              <a:t>Provide details if you are planning to use </a:t>
            </a:r>
            <a:r>
              <a:rPr lang="en-GB" sz="1200">
                <a:solidFill>
                  <a:schemeClr val="tx1"/>
                </a:solidFill>
                <a:highlight>
                  <a:srgbClr val="FFFF00"/>
                </a:highlight>
                <a:latin typeface="Segoe UI" panose="020B0502040204020203" pitchFamily="34" charset="0"/>
                <a:hlinkClick r:id="rId3">
                  <a:extLst>
                    <a:ext uri="{A12FA001-AC4F-418D-AE19-62706E023703}">
                      <ahyp:hlinkClr xmlns:ahyp="http://schemas.microsoft.com/office/drawing/2018/hyperlinkcolor" val="tx"/>
                    </a:ext>
                  </a:extLst>
                </a:hlinkClick>
              </a:rPr>
              <a:t>Finance Insights</a:t>
            </a:r>
            <a:r>
              <a:rPr lang="en-GB" sz="1200">
                <a:solidFill>
                  <a:schemeClr val="tx1"/>
                </a:solidFill>
                <a:highlight>
                  <a:srgbClr val="FFFF00"/>
                </a:highlight>
                <a:latin typeface="Segoe UI" panose="020B0502040204020203" pitchFamily="34" charset="0"/>
              </a:rPr>
              <a:t> apps such as Customer payment prediction, Cash flow forecast or Budget proposal</a:t>
            </a:r>
            <a:r>
              <a:rPr lang="en-GB" sz="1200" b="0" i="0" u="none" strike="noStrike">
                <a:solidFill>
                  <a:schemeClr val="tx1"/>
                </a:solidFill>
                <a:effectLst/>
                <a:highlight>
                  <a:srgbClr val="FFFF00"/>
                </a:highlight>
                <a:latin typeface="Segoe UI" panose="020B0502040204020203" pitchFamily="34" charset="0"/>
              </a:rPr>
              <a:t>.​</a:t>
            </a:r>
          </a:p>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5</a:t>
            </a:fld>
            <a:endParaRPr lang="en-US"/>
          </a:p>
        </p:txBody>
      </p:sp>
    </p:spTree>
    <p:extLst>
      <p:ext uri="{BB962C8B-B14F-4D97-AF65-F5344CB8AC3E}">
        <p14:creationId xmlns:p14="http://schemas.microsoft.com/office/powerpoint/2010/main" val="42025949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0" i="0" u="none" strike="noStrike" dirty="0">
                <a:solidFill>
                  <a:srgbClr val="505050"/>
                </a:solidFill>
                <a:effectLst/>
                <a:highlight>
                  <a:srgbClr val="FFFF00"/>
                </a:highlight>
                <a:latin typeface="Segoe UI" panose="020B0502040204020203" pitchFamily="34" charset="0"/>
              </a:rPr>
              <a:t>Please provide answer to following question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solidFill>
                  <a:schemeClr val="tx1"/>
                </a:solidFill>
                <a:highlight>
                  <a:srgbClr val="FFFF00"/>
                </a:highlight>
              </a:rPr>
              <a:t>Printing requirement for business documents, label printing – volume details, number of printers, printer location etc.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solidFill>
                  <a:schemeClr val="tx1"/>
                </a:solidFill>
                <a:highlight>
                  <a:srgbClr val="FFFF00"/>
                </a:highlight>
              </a:rPr>
              <a:t>Validation plan for document printing such as checks, business documents.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solidFill>
                  <a:schemeClr val="tx1"/>
                </a:solidFill>
                <a:highlight>
                  <a:srgbClr val="FFFF00"/>
                </a:highlight>
              </a:rPr>
              <a:t>Details on network printing, label printing, printer setup and document routing setup.</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200" b="0" i="0" u="none" strike="noStrike" dirty="0">
                <a:solidFill>
                  <a:srgbClr val="505050"/>
                </a:solidFill>
                <a:effectLst/>
                <a:highlight>
                  <a:srgbClr val="FFFF00"/>
                </a:highlight>
                <a:latin typeface="Segoe UI" panose="020B0502040204020203" pitchFamily="34" charset="0"/>
              </a:rPr>
              <a:t>Label printing requirement solution strategy and volum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sz="1200" dirty="0">
              <a:solidFill>
                <a:schemeClr val="tx1"/>
              </a:solidFill>
              <a:highlight>
                <a:srgbClr val="FFFF00"/>
              </a:highlight>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sz="1200" dirty="0">
              <a:solidFill>
                <a:schemeClr val="tx1"/>
              </a:solidFill>
              <a:highlight>
                <a:srgbClr val="FFFF00"/>
              </a:highlight>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sz="1200" dirty="0">
              <a:solidFill>
                <a:schemeClr val="tx1"/>
              </a:solidFill>
              <a:highlight>
                <a:srgbClr val="FFFF00"/>
              </a:highlight>
            </a:endParaRPr>
          </a:p>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16</a:t>
            </a:fld>
            <a:endParaRPr lang="en-US"/>
          </a:p>
        </p:txBody>
      </p:sp>
    </p:spTree>
    <p:extLst>
      <p:ext uri="{BB962C8B-B14F-4D97-AF65-F5344CB8AC3E}">
        <p14:creationId xmlns:p14="http://schemas.microsoft.com/office/powerpoint/2010/main" val="11729685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7</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8</a:t>
            </a:fld>
            <a:endParaRPr lang="en-US"/>
          </a:p>
        </p:txBody>
      </p:sp>
    </p:spTree>
    <p:extLst>
      <p:ext uri="{BB962C8B-B14F-4D97-AF65-F5344CB8AC3E}">
        <p14:creationId xmlns:p14="http://schemas.microsoft.com/office/powerpoint/2010/main" val="25931544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20170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9444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Slide Number Placeholder 3"/>
          <p:cNvSpPr>
            <a:spLocks noGrp="1"/>
          </p:cNvSpPr>
          <p:nvPr>
            <p:ph type="sldNum" sz="quarter" idx="5"/>
          </p:nvPr>
        </p:nvSpPr>
        <p:spPr/>
        <p:txBody>
          <a:bodyPr/>
          <a:lstStyle/>
          <a:p>
            <a:fld id="{6966B356-2F22-40D0-A92B-C8127227BBA1}" type="slidenum">
              <a:rPr lang="en-US" smtClean="0"/>
              <a:t>2</a:t>
            </a:fld>
            <a:endParaRPr lang="en-US"/>
          </a:p>
        </p:txBody>
      </p:sp>
    </p:spTree>
    <p:extLst>
      <p:ext uri="{BB962C8B-B14F-4D97-AF65-F5344CB8AC3E}">
        <p14:creationId xmlns:p14="http://schemas.microsoft.com/office/powerpoint/2010/main" val="3422491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24/2021 9:03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75484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4000" b="0" kern="1200" cap="none" spc="-100" baseline="0">
              <a:ln w="3175">
                <a:noFill/>
              </a:ln>
              <a:solidFill>
                <a:schemeClr val="tx1">
                  <a:lumMod val="75000"/>
                </a:schemeClr>
              </a:solidFill>
              <a:effectLst/>
              <a:latin typeface="+mj-lt"/>
              <a:ea typeface="+mn-ea"/>
              <a:cs typeface="Segoe UI" pitchFamily="34" charset="0"/>
            </a:endParaRPr>
          </a:p>
        </p:txBody>
      </p:sp>
      <p:sp>
        <p:nvSpPr>
          <p:cNvPr id="4" name="Slide Number Placeholder 3"/>
          <p:cNvSpPr>
            <a:spLocks noGrp="1"/>
          </p:cNvSpPr>
          <p:nvPr>
            <p:ph type="sldNum" sz="quarter" idx="5"/>
          </p:nvPr>
        </p:nvSpPr>
        <p:spPr/>
        <p:txBody>
          <a:bodyPr/>
          <a:lstStyle/>
          <a:p>
            <a:fld id="{820133BD-6629-D245-9461-799999F1C98F}" type="slidenum">
              <a:rPr lang="en-US" smtClean="0"/>
              <a:t>4</a:t>
            </a:fld>
            <a:endParaRPr lang="en-US"/>
          </a:p>
        </p:txBody>
      </p:sp>
    </p:spTree>
    <p:extLst>
      <p:ext uri="{BB962C8B-B14F-4D97-AF65-F5344CB8AC3E}">
        <p14:creationId xmlns:p14="http://schemas.microsoft.com/office/powerpoint/2010/main" val="39569151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966B356-2F22-40D0-A92B-C8127227BBA1}" type="slidenum">
              <a:rPr lang="en-US" smtClean="0"/>
              <a:t>5</a:t>
            </a:fld>
            <a:endParaRPr lang="en-US"/>
          </a:p>
        </p:txBody>
      </p:sp>
    </p:spTree>
    <p:extLst>
      <p:ext uri="{BB962C8B-B14F-4D97-AF65-F5344CB8AC3E}">
        <p14:creationId xmlns:p14="http://schemas.microsoft.com/office/powerpoint/2010/main" val="25022957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966B356-2F22-40D0-A92B-C8127227BBA1}" type="slidenum">
              <a:rPr lang="en-US" smtClean="0"/>
              <a:t>6</a:t>
            </a:fld>
            <a:endParaRPr lang="en-US"/>
          </a:p>
        </p:txBody>
      </p:sp>
    </p:spTree>
    <p:extLst>
      <p:ext uri="{BB962C8B-B14F-4D97-AF65-F5344CB8AC3E}">
        <p14:creationId xmlns:p14="http://schemas.microsoft.com/office/powerpoint/2010/main" val="17586128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Courier New" panose="02070309020205020404" pitchFamily="49" charset="0"/>
              <a:buNone/>
            </a:pPr>
            <a:r>
              <a:rPr lang="en-US" sz="1800" b="0" i="0">
                <a:effectLst/>
                <a:latin typeface="Segoe UI" panose="020B0502040204020203" pitchFamily="34" charset="0"/>
              </a:rPr>
              <a:t>Please provide answer to following questions as it related to components of your data estate </a:t>
            </a:r>
          </a:p>
          <a:p>
            <a:pPr marL="285750" indent="-285750" algn="l">
              <a:buFont typeface="Arial" panose="020B0604020202020204" pitchFamily="34" charset="0"/>
              <a:buChar char="•"/>
            </a:pPr>
            <a:r>
              <a:rPr lang="en-US" sz="1800" b="0" i="0">
                <a:effectLst/>
                <a:latin typeface="Segoe UI" panose="020B0502040204020203" pitchFamily="34" charset="0"/>
              </a:rPr>
              <a:t>Where data is located (CE, F&amp;O, external master data, data estate diagram) ?</a:t>
            </a:r>
            <a:endParaRPr lang="en-US" b="0" i="0">
              <a:effectLst/>
              <a:latin typeface="Segoe UI" panose="020B0502040204020203" pitchFamily="34" charset="0"/>
            </a:endParaRPr>
          </a:p>
          <a:p>
            <a:pPr marL="285750" indent="-285750" algn="l">
              <a:buFont typeface="Arial" panose="020B0604020202020204" pitchFamily="34" charset="0"/>
              <a:buChar char="•"/>
            </a:pPr>
            <a:r>
              <a:rPr lang="en-US" sz="1800" b="0" i="0">
                <a:effectLst/>
                <a:latin typeface="Segoe UI" panose="020B0502040204020203" pitchFamily="34" charset="0"/>
              </a:rPr>
              <a:t>Are data unification components (Datawarehouse, Customer Insights, other Azure technology) used?</a:t>
            </a:r>
            <a:endParaRPr lang="en-US" sz="1200" b="0" i="0">
              <a:effectLst/>
              <a:latin typeface="Segoe UI" panose="020B0502040204020203" pitchFamily="34" charset="0"/>
            </a:endParaRPr>
          </a:p>
          <a:p>
            <a:pPr marL="285750" indent="-285750" algn="l">
              <a:buFont typeface="Arial" panose="020B0604020202020204" pitchFamily="34" charset="0"/>
              <a:buChar char="•"/>
            </a:pPr>
            <a:r>
              <a:rPr lang="en-US" sz="1800" b="0" i="0">
                <a:effectLst/>
                <a:latin typeface="Segoe UI" panose="020B0502040204020203" pitchFamily="34" charset="0"/>
              </a:rPr>
              <a:t>Are data export components (DES/BYOD, Export to data lake) used?</a:t>
            </a:r>
            <a:endParaRPr lang="en-US" sz="1200" b="0" i="0">
              <a:effectLst/>
              <a:latin typeface="Segoe UI" panose="020B0502040204020203" pitchFamily="34" charset="0"/>
            </a:endParaRPr>
          </a:p>
          <a:p>
            <a:pPr marL="285750" indent="-285750" algn="l">
              <a:buFont typeface="Arial" panose="020B0604020202020204" pitchFamily="34" charset="0"/>
              <a:buChar char="•"/>
            </a:pPr>
            <a:r>
              <a:rPr lang="en-US" sz="1800" b="0" i="0">
                <a:effectLst/>
                <a:latin typeface="Segoe UI" panose="020B0502040204020203" pitchFamily="34" charset="0"/>
              </a:rPr>
              <a:t>Are components of Azure Technology (Azure Synapses, etc.) used?</a:t>
            </a:r>
            <a:endParaRPr lang="en-US" sz="1200" b="0" i="0">
              <a:effectLst/>
              <a:latin typeface="Segoe UI" panose="020B0502040204020203" pitchFamily="34" charset="0"/>
            </a:endParaRPr>
          </a:p>
          <a:p>
            <a:pPr marL="285750" indent="-285750" algn="l">
              <a:buFont typeface="Arial" panose="020B0604020202020204" pitchFamily="34" charset="0"/>
              <a:buChar char="•"/>
            </a:pPr>
            <a:r>
              <a:rPr lang="en-US" sz="1800" b="0" i="0">
                <a:effectLst/>
                <a:latin typeface="Segoe UI" panose="020B0502040204020203" pitchFamily="34" charset="0"/>
              </a:rPr>
              <a:t>Are apps leverage Embedded Intelligence in the scope (Sales insights, Customer service insights, Finance insigh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u="none" strike="noStrike">
                <a:solidFill>
                  <a:srgbClr val="505050"/>
                </a:solidFill>
                <a:effectLst/>
                <a:highlight>
                  <a:srgbClr val="FFFF00"/>
                </a:highlight>
                <a:latin typeface="Segoe UI" panose="020B0502040204020203" pitchFamily="34" charset="0"/>
              </a:rPr>
              <a:t>High level overview of your enterprise reporting data </a:t>
            </a:r>
            <a:r>
              <a:rPr lang="en-GB" sz="1200">
                <a:solidFill>
                  <a:srgbClr val="505050"/>
                </a:solidFill>
                <a:highlight>
                  <a:srgbClr val="FFFF00"/>
                </a:highlight>
                <a:latin typeface="Segoe UI" panose="020B0502040204020203" pitchFamily="34" charset="0"/>
              </a:rPr>
              <a:t>p</a:t>
            </a:r>
            <a:r>
              <a:rPr lang="en-GB" sz="1200" b="0" i="0" u="none" strike="noStrike">
                <a:solidFill>
                  <a:srgbClr val="505050"/>
                </a:solidFill>
                <a:effectLst/>
                <a:highlight>
                  <a:srgbClr val="FFFF00"/>
                </a:highlight>
                <a:latin typeface="Segoe UI" panose="020B0502040204020203" pitchFamily="34" charset="0"/>
              </a:rPr>
              <a:t>rocessing (ETL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u="none" strike="noStrike">
                <a:solidFill>
                  <a:srgbClr val="505050"/>
                </a:solidFill>
                <a:effectLst/>
                <a:highlight>
                  <a:srgbClr val="FFFF00"/>
                </a:highlight>
                <a:latin typeface="Segoe UI" panose="020B0502040204020203" pitchFamily="34" charset="0"/>
              </a:rPr>
              <a:t>List of tools used for enterprise BI such as Power BI, Excel, Tableau etc</a:t>
            </a:r>
            <a:r>
              <a:rPr lang="en-GB" sz="1200">
                <a:solidFill>
                  <a:srgbClr val="505050"/>
                </a:solidFill>
                <a:highlight>
                  <a:srgbClr val="FFFF00"/>
                </a:highlight>
                <a:latin typeface="Segoe UI" panose="020B0502040204020203" pitchFamily="34" charset="0"/>
              </a:rPr>
              <a:t> and what role they play in the overall solution strategy.</a:t>
            </a:r>
            <a:endParaRPr lang="en-GB" sz="1200" b="0" i="0" u="none" strike="noStrike">
              <a:solidFill>
                <a:srgbClr val="505050"/>
              </a:solidFill>
              <a:effectLst/>
              <a:highlight>
                <a:srgbClr val="FFFF00"/>
              </a:highlight>
              <a:latin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i="0" u="none" strike="noStrike">
              <a:solidFill>
                <a:srgbClr val="505050"/>
              </a:solidFill>
              <a:effectLst/>
              <a:highlight>
                <a:srgbClr val="FFFF00"/>
              </a:highlight>
              <a:latin typeface="Segoe UI" panose="020B0502040204020203" pitchFamily="34" charset="0"/>
            </a:endParaRPr>
          </a:p>
          <a:p>
            <a:pPr marL="285750" indent="-285750" algn="l">
              <a:buFont typeface="Arial" panose="020B0604020202020204" pitchFamily="34" charset="0"/>
              <a:buChar char="•"/>
            </a:pPr>
            <a:endParaRPr lang="en-US" b="0" i="0">
              <a:effectLst/>
              <a:latin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8</a:t>
            </a:fld>
            <a:endParaRPr lang="en-US"/>
          </a:p>
        </p:txBody>
      </p:sp>
    </p:spTree>
    <p:extLst>
      <p:ext uri="{BB962C8B-B14F-4D97-AF65-F5344CB8AC3E}">
        <p14:creationId xmlns:p14="http://schemas.microsoft.com/office/powerpoint/2010/main" val="8329508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9</a:t>
            </a:fld>
            <a:endParaRPr lang="en-US"/>
          </a:p>
        </p:txBody>
      </p:sp>
    </p:spTree>
    <p:extLst>
      <p:ext uri="{BB962C8B-B14F-4D97-AF65-F5344CB8AC3E}">
        <p14:creationId xmlns:p14="http://schemas.microsoft.com/office/powerpoint/2010/main" val="277830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0133BD-6629-D245-9461-799999F1C98F}" type="slidenum">
              <a:rPr lang="en-US" smtClean="0"/>
              <a:t>10</a:t>
            </a:fld>
            <a:endParaRPr lang="en-US"/>
          </a:p>
        </p:txBody>
      </p:sp>
    </p:spTree>
    <p:extLst>
      <p:ext uri="{BB962C8B-B14F-4D97-AF65-F5344CB8AC3E}">
        <p14:creationId xmlns:p14="http://schemas.microsoft.com/office/powerpoint/2010/main" val="277830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4" name="Picture 3">
            <a:extLst>
              <a:ext uri="{FF2B5EF4-FFF2-40B4-BE49-F238E27FC236}">
                <a16:creationId xmlns:a16="http://schemas.microsoft.com/office/drawing/2014/main" id="{D4B8B8BB-1A51-426E-BFB3-31A7B8AB78C5}"/>
              </a:ext>
            </a:extLst>
          </p:cNvPr>
          <p:cNvPicPr>
            <a:picLocks noChangeAspect="1"/>
          </p:cNvPicPr>
          <p:nvPr userDrawn="1"/>
        </p:nvPicPr>
        <p:blipFill>
          <a:blip r:embed="rId3"/>
          <a:stretch>
            <a:fillRect/>
          </a:stretch>
        </p:blipFill>
        <p:spPr>
          <a:xfrm>
            <a:off x="6096000" y="0"/>
            <a:ext cx="6096000" cy="6858000"/>
          </a:xfrm>
          <a:prstGeom prst="rect">
            <a:avLst/>
          </a:prstGeom>
        </p:spPr>
      </p:pic>
    </p:spTree>
    <p:extLst>
      <p:ext uri="{BB962C8B-B14F-4D97-AF65-F5344CB8AC3E}">
        <p14:creationId xmlns:p14="http://schemas.microsoft.com/office/powerpoint/2010/main" val="109586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268978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REVIEW ITEM</a:t>
            </a:r>
          </a:p>
        </p:txBody>
      </p:sp>
    </p:spTree>
    <p:extLst>
      <p:ext uri="{BB962C8B-B14F-4D97-AF65-F5344CB8AC3E}">
        <p14:creationId xmlns:p14="http://schemas.microsoft.com/office/powerpoint/2010/main" val="3241177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7243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970083-3A71-48F6-9BD0-D3686BD2843E}"/>
              </a:ext>
            </a:extLst>
          </p:cNvPr>
          <p:cNvSpPr>
            <a:spLocks noGrp="1"/>
          </p:cNvSpPr>
          <p:nvPr>
            <p:ph type="title"/>
          </p:nvPr>
        </p:nvSpPr>
        <p:spPr/>
        <p:txBody>
          <a:bodyPr anchor="ctr"/>
          <a:lstStyle>
            <a:lvl1pPr>
              <a:defRPr sz="4000">
                <a:solidFill>
                  <a:schemeClr val="tx1"/>
                </a:solidFill>
              </a:defRPr>
            </a:lvl1pPr>
          </a:lstStyle>
          <a:p>
            <a:r>
              <a:rPr lang="en-US"/>
              <a:t>Click to edit Master title style</a:t>
            </a:r>
            <a:endParaRPr lang="en-GB"/>
          </a:p>
        </p:txBody>
      </p:sp>
      <p:sp>
        <p:nvSpPr>
          <p:cNvPr id="7" name="Content Placeholder 6">
            <a:extLst>
              <a:ext uri="{FF2B5EF4-FFF2-40B4-BE49-F238E27FC236}">
                <a16:creationId xmlns:a16="http://schemas.microsoft.com/office/drawing/2014/main" id="{9AB5242A-416F-4F00-9C67-1EF1C6073DCE}"/>
              </a:ext>
            </a:extLst>
          </p:cNvPr>
          <p:cNvSpPr>
            <a:spLocks noGrp="1"/>
          </p:cNvSpPr>
          <p:nvPr>
            <p:ph sz="quarter" idx="10"/>
          </p:nvPr>
        </p:nvSpPr>
        <p:spPr>
          <a:xfrm>
            <a:off x="267874" y="1838324"/>
            <a:ext cx="11655839" cy="4587875"/>
          </a:xfrm>
        </p:spPr>
        <p:txBody>
          <a:bodyPr/>
          <a:lstStyle>
            <a:lvl1pPr>
              <a:buSzPct val="100000"/>
              <a:defRPr sz="2000">
                <a:latin typeface="+mn-lt"/>
              </a:defRPr>
            </a:lvl1pPr>
            <a:lvl2pPr>
              <a:buSzPct val="70000"/>
              <a:buFont typeface="Courier New" panose="02070309020205020404" pitchFamily="49" charset="0"/>
              <a:buChar char="o"/>
              <a:defRPr sz="2000">
                <a:latin typeface="+mn-lt"/>
              </a:defRPr>
            </a:lvl2pPr>
            <a:lvl3pPr>
              <a:buSzPct val="60000"/>
              <a:buFont typeface="Wingdings" panose="05000000000000000000" pitchFamily="2" charset="2"/>
              <a:buChar char="§"/>
              <a:defRPr sz="2000">
                <a:latin typeface="+mn-lt"/>
              </a:defRPr>
            </a:lvl3pPr>
            <a:lvl4pPr>
              <a:buSzPct val="60000"/>
              <a:buFont typeface="Wingdings" panose="05000000000000000000" pitchFamily="2" charset="2"/>
              <a:buChar char="§"/>
              <a:defRPr sz="2000">
                <a:latin typeface="+mn-lt"/>
              </a:defRPr>
            </a:lvl4pPr>
            <a:lvl5pPr>
              <a:buSzPct val="60000"/>
              <a:buFont typeface="Wingdings" panose="05000000000000000000" pitchFamily="2" charset="2"/>
              <a:buChar char="§"/>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FE10F35C-F5C7-474E-8739-D7BA8C2F7C9E}"/>
              </a:ext>
            </a:extLst>
          </p:cNvPr>
          <p:cNvSpPr>
            <a:spLocks noGrp="1"/>
          </p:cNvSpPr>
          <p:nvPr>
            <p:ph type="body" sz="quarter" idx="11" hasCustomPrompt="1"/>
          </p:nvPr>
        </p:nvSpPr>
        <p:spPr>
          <a:xfrm>
            <a:off x="269875" y="1189038"/>
            <a:ext cx="11652250" cy="461665"/>
          </a:xfrm>
        </p:spPr>
        <p:txBody>
          <a:bodyPr/>
          <a:lstStyle>
            <a:lvl1pPr marL="0" indent="0">
              <a:buFontTx/>
              <a:buNone/>
              <a:defRPr sz="2000">
                <a:solidFill>
                  <a:schemeClr val="accent1"/>
                </a:solidFill>
              </a:defRPr>
            </a:lvl1pPr>
            <a:lvl2pPr marL="336145" indent="0">
              <a:buFontTx/>
              <a:buNone/>
              <a:defRPr sz="2000"/>
            </a:lvl2pPr>
            <a:lvl3pPr marL="560241" indent="0">
              <a:buFontTx/>
              <a:buNone/>
              <a:defRPr sz="2000"/>
            </a:lvl3pPr>
            <a:lvl4pPr marL="784338" indent="0">
              <a:buFontTx/>
              <a:buNone/>
              <a:defRPr sz="2000"/>
            </a:lvl4pPr>
            <a:lvl5pPr marL="1008434" indent="0">
              <a:buFontTx/>
              <a:buNone/>
              <a:defRPr sz="2000"/>
            </a:lvl5pPr>
          </a:lstStyle>
          <a:p>
            <a:pPr lvl="0"/>
            <a:r>
              <a:rPr lang="en-US"/>
              <a:t>Subtitle</a:t>
            </a:r>
          </a:p>
        </p:txBody>
      </p:sp>
    </p:spTree>
    <p:extLst>
      <p:ext uri="{BB962C8B-B14F-4D97-AF65-F5344CB8AC3E}">
        <p14:creationId xmlns:p14="http://schemas.microsoft.com/office/powerpoint/2010/main" val="808788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5540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2115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9860598F-5489-4F0B-B9DA-B1DC8ECA311B}"/>
              </a:ext>
            </a:extLst>
          </p:cNvPr>
          <p:cNvSpPr>
            <a:spLocks noGrp="1"/>
          </p:cNvSpPr>
          <p:nvPr>
            <p:ph sz="quarter" idx="10" hasCustomPrompt="1"/>
          </p:nvPr>
        </p:nvSpPr>
        <p:spPr>
          <a:xfrm>
            <a:off x="832916" y="1262216"/>
            <a:ext cx="10901882" cy="406265"/>
          </a:xfrm>
        </p:spPr>
        <p:txBody>
          <a:bodyPr/>
          <a:lstStyle>
            <a:lvl1pPr marL="0" indent="0">
              <a:buNone/>
              <a:defRPr sz="1600"/>
            </a:lvl1pPr>
            <a:lvl2pPr marL="336145" indent="0">
              <a:buNone/>
              <a:defRPr/>
            </a:lvl2pPr>
          </a:lstStyle>
          <a:p>
            <a:pPr lvl="0"/>
            <a:r>
              <a:rPr lang="en-US"/>
              <a:t>Review Item</a:t>
            </a:r>
          </a:p>
        </p:txBody>
      </p:sp>
      <p:sp>
        <p:nvSpPr>
          <p:cNvPr id="4" name="Title 1">
            <a:extLst>
              <a:ext uri="{FF2B5EF4-FFF2-40B4-BE49-F238E27FC236}">
                <a16:creationId xmlns:a16="http://schemas.microsoft.com/office/drawing/2014/main" id="{C2C1733E-B422-45C8-8755-B39BEA08850B}"/>
              </a:ext>
            </a:extLst>
          </p:cNvPr>
          <p:cNvSpPr>
            <a:spLocks noGrp="1"/>
          </p:cNvSpPr>
          <p:nvPr>
            <p:ph type="title" hasCustomPrompt="1"/>
          </p:nvPr>
        </p:nvSpPr>
        <p:spPr>
          <a:xfrm>
            <a:off x="269240" y="289511"/>
            <a:ext cx="11655840" cy="899665"/>
          </a:xfrm>
        </p:spPr>
        <p:txBody>
          <a:bodyPr/>
          <a:lstStyle>
            <a:lvl1pPr>
              <a:defRPr/>
            </a:lvl1pPr>
          </a:lstStyle>
          <a:p>
            <a:r>
              <a:rPr lang="en-GB">
                <a:highlight>
                  <a:srgbClr val="FFFF00"/>
                </a:highlight>
              </a:rPr>
              <a:t>REVIEW TOPIC</a:t>
            </a:r>
          </a:p>
        </p:txBody>
      </p:sp>
      <p:grpSp>
        <p:nvGrpSpPr>
          <p:cNvPr id="8" name="Group 7">
            <a:extLst>
              <a:ext uri="{FF2B5EF4-FFF2-40B4-BE49-F238E27FC236}">
                <a16:creationId xmlns:a16="http://schemas.microsoft.com/office/drawing/2014/main" id="{E38D5D52-C2AC-4D22-8669-793E54461611}"/>
              </a:ext>
            </a:extLst>
          </p:cNvPr>
          <p:cNvGrpSpPr/>
          <p:nvPr/>
        </p:nvGrpSpPr>
        <p:grpSpPr>
          <a:xfrm>
            <a:off x="457200" y="1287313"/>
            <a:ext cx="326112" cy="326112"/>
            <a:chOff x="115497" y="1864737"/>
            <a:chExt cx="461744" cy="461744"/>
          </a:xfrm>
          <a:solidFill>
            <a:schemeClr val="tx2"/>
          </a:solidFill>
        </p:grpSpPr>
        <p:sp>
          <p:nvSpPr>
            <p:cNvPr id="9" name="Freeform: Shape 8">
              <a:extLst>
                <a:ext uri="{FF2B5EF4-FFF2-40B4-BE49-F238E27FC236}">
                  <a16:creationId xmlns:a16="http://schemas.microsoft.com/office/drawing/2014/main" id="{B0835B06-2B3C-4CBA-8C30-D2BA7BF6443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Graphic 77">
              <a:extLst>
                <a:ext uri="{FF2B5EF4-FFF2-40B4-BE49-F238E27FC236}">
                  <a16:creationId xmlns:a16="http://schemas.microsoft.com/office/drawing/2014/main" id="{70021638-8B44-4082-87EC-45BA11C3277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11" name="Rectangle 10">
            <a:extLst>
              <a:ext uri="{FF2B5EF4-FFF2-40B4-BE49-F238E27FC236}">
                <a16:creationId xmlns:a16="http://schemas.microsoft.com/office/drawing/2014/main" id="{18C2EFA9-917C-4222-9A71-16F8B08FDF2E}"/>
              </a:ext>
            </a:extLst>
          </p:cNvPr>
          <p:cNvSpPr/>
          <p:nvPr userDrawn="1"/>
        </p:nvSpPr>
        <p:spPr>
          <a:xfrm>
            <a:off x="457200" y="1711563"/>
            <a:ext cx="11277600" cy="4803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Add Info</a:t>
            </a:r>
          </a:p>
        </p:txBody>
      </p:sp>
      <p:sp>
        <p:nvSpPr>
          <p:cNvPr id="12" name="Rectangle 11">
            <a:extLst>
              <a:ext uri="{FF2B5EF4-FFF2-40B4-BE49-F238E27FC236}">
                <a16:creationId xmlns:a16="http://schemas.microsoft.com/office/drawing/2014/main" id="{4942C1D3-04C3-475F-BA4B-B00CCB1BE2EE}"/>
              </a:ext>
            </a:extLst>
          </p:cNvPr>
          <p:cNvSpPr/>
          <p:nvPr userDrawn="1"/>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3523634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5EDEADA-00A4-4A61-B6F7-7AB4F12D948A}"/>
              </a:ext>
            </a:extLst>
          </p:cNvPr>
          <p:cNvGrpSpPr/>
          <p:nvPr/>
        </p:nvGrpSpPr>
        <p:grpSpPr>
          <a:xfrm>
            <a:off x="4949371" y="2277275"/>
            <a:ext cx="2293258" cy="2303450"/>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0"/>
            </a:p>
          </p:txBody>
        </p:sp>
      </p:grpSp>
      <p:sp>
        <p:nvSpPr>
          <p:cNvPr id="10" name="Title 1">
            <a:extLst>
              <a:ext uri="{FF2B5EF4-FFF2-40B4-BE49-F238E27FC236}">
                <a16:creationId xmlns:a16="http://schemas.microsoft.com/office/drawing/2014/main" id="{1F55178B-1A46-43C0-90DB-4D5DB64140EC}"/>
              </a:ext>
            </a:extLst>
          </p:cNvPr>
          <p:cNvSpPr>
            <a:spLocks noGrp="1"/>
          </p:cNvSpPr>
          <p:nvPr>
            <p:ph type="title" hasCustomPrompt="1"/>
          </p:nvPr>
        </p:nvSpPr>
        <p:spPr>
          <a:xfrm>
            <a:off x="269239" y="2921169"/>
            <a:ext cx="4597785" cy="1015663"/>
          </a:xfrm>
          <a:noFill/>
        </p:spPr>
        <p:txBody>
          <a:bodyPr wrap="square" tIns="91440" bIns="91440" anchor="ctr" anchorCtr="0">
            <a:spAutoFit/>
          </a:bodyPr>
          <a:lstStyle>
            <a:lvl1pPr>
              <a:defRPr sz="60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42236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8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34903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41" y="2622113"/>
            <a:ext cx="11007660" cy="1703429"/>
          </a:xfrm>
        </p:spPr>
        <p:txBody>
          <a:bodyPr anchor="ctr"/>
          <a:lstStyle>
            <a:lvl1pPr>
              <a:defRPr sz="5881">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0997" y="482864"/>
            <a:ext cx="1225864" cy="261495"/>
          </a:xfrm>
          <a:prstGeom prst="rect">
            <a:avLst/>
          </a:prstGeom>
        </p:spPr>
      </p:pic>
    </p:spTree>
    <p:extLst>
      <p:ext uri="{BB962C8B-B14F-4D97-AF65-F5344CB8AC3E}">
        <p14:creationId xmlns:p14="http://schemas.microsoft.com/office/powerpoint/2010/main" val="544152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444704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6AD59570-D98B-4F7B-80B6-9471B2041BB8}"/>
              </a:ext>
            </a:extLst>
          </p:cNvPr>
          <p:cNvGrpSpPr/>
          <p:nvPr/>
        </p:nvGrpSpPr>
        <p:grpSpPr>
          <a:xfrm rot="5400000">
            <a:off x="10042168" y="2339070"/>
            <a:ext cx="5409049" cy="730911"/>
            <a:chOff x="3184538" y="0"/>
            <a:chExt cx="9389529" cy="1461567"/>
          </a:xfrm>
        </p:grpSpPr>
        <p:sp>
          <p:nvSpPr>
            <p:cNvPr id="25" name="Shape 4961">
              <a:extLst>
                <a:ext uri="{FF2B5EF4-FFF2-40B4-BE49-F238E27FC236}">
                  <a16:creationId xmlns:a16="http://schemas.microsoft.com/office/drawing/2014/main" id="{2E9321FE-8B80-4A65-A4F1-0A9A645DC267}"/>
                </a:ext>
              </a:extLst>
            </p:cNvPr>
            <p:cNvSpPr/>
            <p:nvPr userDrawn="1"/>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26" name="Shape 34744">
              <a:extLst>
                <a:ext uri="{FF2B5EF4-FFF2-40B4-BE49-F238E27FC236}">
                  <a16:creationId xmlns:a16="http://schemas.microsoft.com/office/drawing/2014/main" id="{2A233076-34B9-428C-BA8D-CDA63AA548EE}"/>
                </a:ext>
              </a:extLst>
            </p:cNvPr>
            <p:cNvSpPr/>
            <p:nvPr userDrawn="1"/>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27" name="Shape 34745">
              <a:extLst>
                <a:ext uri="{FF2B5EF4-FFF2-40B4-BE49-F238E27FC236}">
                  <a16:creationId xmlns:a16="http://schemas.microsoft.com/office/drawing/2014/main" id="{E534E280-234A-4D24-8D84-2EF3AE4ABD87}"/>
                </a:ext>
              </a:extLst>
            </p:cNvPr>
            <p:cNvSpPr/>
            <p:nvPr userDrawn="1"/>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28" name="Shape 34746">
              <a:extLst>
                <a:ext uri="{FF2B5EF4-FFF2-40B4-BE49-F238E27FC236}">
                  <a16:creationId xmlns:a16="http://schemas.microsoft.com/office/drawing/2014/main" id="{D6C72A1A-A69A-4D6B-93DB-F5A42D5DC3A4}"/>
                </a:ext>
              </a:extLst>
            </p:cNvPr>
            <p:cNvSpPr/>
            <p:nvPr userDrawn="1"/>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29" name="Shape 34747">
              <a:extLst>
                <a:ext uri="{FF2B5EF4-FFF2-40B4-BE49-F238E27FC236}">
                  <a16:creationId xmlns:a16="http://schemas.microsoft.com/office/drawing/2014/main" id="{DFCB0D70-8AB5-4852-A6CD-D0898F48DC48}"/>
                </a:ext>
              </a:extLst>
            </p:cNvPr>
            <p:cNvSpPr/>
            <p:nvPr userDrawn="1"/>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a:p>
          </p:txBody>
        </p:sp>
        <p:sp>
          <p:nvSpPr>
            <p:cNvPr id="30" name="Shape 34748">
              <a:extLst>
                <a:ext uri="{FF2B5EF4-FFF2-40B4-BE49-F238E27FC236}">
                  <a16:creationId xmlns:a16="http://schemas.microsoft.com/office/drawing/2014/main" id="{FF3E8AEE-5EB8-4FCB-9345-7436A01B5037}"/>
                </a:ext>
              </a:extLst>
            </p:cNvPr>
            <p:cNvSpPr/>
            <p:nvPr userDrawn="1"/>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1" name="Shape 34749">
              <a:extLst>
                <a:ext uri="{FF2B5EF4-FFF2-40B4-BE49-F238E27FC236}">
                  <a16:creationId xmlns:a16="http://schemas.microsoft.com/office/drawing/2014/main" id="{0F6F9298-4267-424F-9DE8-A04E5D92C3F2}"/>
                </a:ext>
              </a:extLst>
            </p:cNvPr>
            <p:cNvSpPr/>
            <p:nvPr userDrawn="1"/>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2" name="Shape 34750">
              <a:extLst>
                <a:ext uri="{FF2B5EF4-FFF2-40B4-BE49-F238E27FC236}">
                  <a16:creationId xmlns:a16="http://schemas.microsoft.com/office/drawing/2014/main" id="{F3A82740-A27D-419A-9071-C99151F8EC7A}"/>
                </a:ext>
              </a:extLst>
            </p:cNvPr>
            <p:cNvSpPr/>
            <p:nvPr userDrawn="1"/>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a:p>
          </p:txBody>
        </p:sp>
        <p:sp>
          <p:nvSpPr>
            <p:cNvPr id="33" name="Shape 34751">
              <a:extLst>
                <a:ext uri="{FF2B5EF4-FFF2-40B4-BE49-F238E27FC236}">
                  <a16:creationId xmlns:a16="http://schemas.microsoft.com/office/drawing/2014/main" id="{C6EC78F6-2F73-4674-9D1F-BAAF8641F52B}"/>
                </a:ext>
              </a:extLst>
            </p:cNvPr>
            <p:cNvSpPr/>
            <p:nvPr userDrawn="1"/>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34" name="Shape 34752">
              <a:extLst>
                <a:ext uri="{FF2B5EF4-FFF2-40B4-BE49-F238E27FC236}">
                  <a16:creationId xmlns:a16="http://schemas.microsoft.com/office/drawing/2014/main" id="{61B8BD4B-7E5A-4D1B-A617-35C9B0BB9FFB}"/>
                </a:ext>
              </a:extLst>
            </p:cNvPr>
            <p:cNvSpPr/>
            <p:nvPr userDrawn="1"/>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a:p>
          </p:txBody>
        </p:sp>
        <p:sp>
          <p:nvSpPr>
            <p:cNvPr id="35" name="Shape 34753">
              <a:extLst>
                <a:ext uri="{FF2B5EF4-FFF2-40B4-BE49-F238E27FC236}">
                  <a16:creationId xmlns:a16="http://schemas.microsoft.com/office/drawing/2014/main" id="{CDF8ED96-44E3-4FF9-BD37-088F4E4B7590}"/>
                </a:ext>
              </a:extLst>
            </p:cNvPr>
            <p:cNvSpPr/>
            <p:nvPr userDrawn="1"/>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6" name="Shape 34754">
              <a:extLst>
                <a:ext uri="{FF2B5EF4-FFF2-40B4-BE49-F238E27FC236}">
                  <a16:creationId xmlns:a16="http://schemas.microsoft.com/office/drawing/2014/main" id="{33639B97-4EC8-4A96-8674-EC0CA6D35CCB}"/>
                </a:ext>
              </a:extLst>
            </p:cNvPr>
            <p:cNvSpPr/>
            <p:nvPr userDrawn="1"/>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a:p>
          </p:txBody>
        </p:sp>
        <p:sp>
          <p:nvSpPr>
            <p:cNvPr id="37" name="Shape 4980">
              <a:extLst>
                <a:ext uri="{FF2B5EF4-FFF2-40B4-BE49-F238E27FC236}">
                  <a16:creationId xmlns:a16="http://schemas.microsoft.com/office/drawing/2014/main" id="{7FEE606F-FA83-4898-9AAC-BAFFAA27B3D5}"/>
                </a:ext>
              </a:extLst>
            </p:cNvPr>
            <p:cNvSpPr/>
            <p:nvPr userDrawn="1"/>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sp>
          <p:nvSpPr>
            <p:cNvPr id="38" name="Shape 34755">
              <a:extLst>
                <a:ext uri="{FF2B5EF4-FFF2-40B4-BE49-F238E27FC236}">
                  <a16:creationId xmlns:a16="http://schemas.microsoft.com/office/drawing/2014/main" id="{AB6B6F4D-58DB-4DC8-BF07-D5A6F9C97644}"/>
                </a:ext>
              </a:extLst>
            </p:cNvPr>
            <p:cNvSpPr/>
            <p:nvPr userDrawn="1"/>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a:p>
          </p:txBody>
        </p:sp>
        <p:sp>
          <p:nvSpPr>
            <p:cNvPr id="39" name="Shape 4982">
              <a:extLst>
                <a:ext uri="{FF2B5EF4-FFF2-40B4-BE49-F238E27FC236}">
                  <a16:creationId xmlns:a16="http://schemas.microsoft.com/office/drawing/2014/main" id="{AC2E100E-184C-4DCF-9EDC-71E58BA5A30A}"/>
                </a:ext>
              </a:extLst>
            </p:cNvPr>
            <p:cNvSpPr/>
            <p:nvPr userDrawn="1"/>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a:p>
          </p:txBody>
        </p:sp>
      </p:grpSp>
      <p:graphicFrame>
        <p:nvGraphicFramePr>
          <p:cNvPr id="40" name="Table 39">
            <a:extLst>
              <a:ext uri="{FF2B5EF4-FFF2-40B4-BE49-F238E27FC236}">
                <a16:creationId xmlns:a16="http://schemas.microsoft.com/office/drawing/2014/main" id="{61EF8645-8B66-48E7-B17B-6F3D48D699CB}"/>
              </a:ext>
            </a:extLst>
          </p:cNvPr>
          <p:cNvGraphicFramePr>
            <a:graphicFrameLocks noGrp="1"/>
          </p:cNvGraphicFramePr>
          <p:nvPr/>
        </p:nvGraphicFramePr>
        <p:xfrm>
          <a:off x="13397218" y="-16936"/>
          <a:ext cx="2500652" cy="5416206"/>
        </p:xfrm>
        <a:graphic>
          <a:graphicData uri="http://schemas.openxmlformats.org/drawingml/2006/table">
            <a:tbl>
              <a:tblPr firstRow="1" firstCol="1" bandRow="1"/>
              <a:tblGrid>
                <a:gridCol w="2500652">
                  <a:extLst>
                    <a:ext uri="{9D8B030D-6E8A-4147-A177-3AD203B41FA5}">
                      <a16:colId xmlns:a16="http://schemas.microsoft.com/office/drawing/2014/main" val="2676493096"/>
                    </a:ext>
                  </a:extLst>
                </a:gridCol>
              </a:tblGrid>
              <a:tr h="1805402">
                <a:tc>
                  <a:txBody>
                    <a:bodyPr/>
                    <a:lstStyle/>
                    <a:p>
                      <a:pPr marL="0" marR="0" algn="l">
                        <a:lnSpc>
                          <a:spcPct val="107000"/>
                        </a:lnSpc>
                        <a:spcBef>
                          <a:spcPts val="0"/>
                        </a:spcBef>
                        <a:spcAft>
                          <a:spcPts val="0"/>
                        </a:spcAft>
                      </a:pPr>
                      <a:r>
                        <a:rPr lang="en-US" sz="35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05402">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5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5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70251" marR="67608" marT="0" marB="40505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41" name="Table 40">
            <a:extLst>
              <a:ext uri="{FF2B5EF4-FFF2-40B4-BE49-F238E27FC236}">
                <a16:creationId xmlns:a16="http://schemas.microsoft.com/office/drawing/2014/main" id="{A0E4FBD6-C58B-4E81-8469-3BF05ED5AE18}"/>
              </a:ext>
            </a:extLst>
          </p:cNvPr>
          <p:cNvGraphicFramePr>
            <a:graphicFrameLocks noGrp="1"/>
          </p:cNvGraphicFramePr>
          <p:nvPr/>
        </p:nvGraphicFramePr>
        <p:xfrm>
          <a:off x="12381237" y="5495708"/>
          <a:ext cx="3968905" cy="1316153"/>
        </p:xfrm>
        <a:graphic>
          <a:graphicData uri="http://schemas.openxmlformats.org/drawingml/2006/table">
            <a:tbl>
              <a:tblPr firstRow="1" firstCol="1" bandRow="1"/>
              <a:tblGrid>
                <a:gridCol w="839668">
                  <a:extLst>
                    <a:ext uri="{9D8B030D-6E8A-4147-A177-3AD203B41FA5}">
                      <a16:colId xmlns:a16="http://schemas.microsoft.com/office/drawing/2014/main" val="1609752180"/>
                    </a:ext>
                  </a:extLst>
                </a:gridCol>
                <a:gridCol w="828447">
                  <a:extLst>
                    <a:ext uri="{9D8B030D-6E8A-4147-A177-3AD203B41FA5}">
                      <a16:colId xmlns:a16="http://schemas.microsoft.com/office/drawing/2014/main" val="1258621652"/>
                    </a:ext>
                  </a:extLst>
                </a:gridCol>
                <a:gridCol w="730561">
                  <a:extLst>
                    <a:ext uri="{9D8B030D-6E8A-4147-A177-3AD203B41FA5}">
                      <a16:colId xmlns:a16="http://schemas.microsoft.com/office/drawing/2014/main" val="1939155094"/>
                    </a:ext>
                  </a:extLst>
                </a:gridCol>
                <a:gridCol w="730561">
                  <a:extLst>
                    <a:ext uri="{9D8B030D-6E8A-4147-A177-3AD203B41FA5}">
                      <a16:colId xmlns:a16="http://schemas.microsoft.com/office/drawing/2014/main" val="1921586234"/>
                    </a:ext>
                  </a:extLst>
                </a:gridCol>
                <a:gridCol w="839668">
                  <a:extLst>
                    <a:ext uri="{9D8B030D-6E8A-4147-A177-3AD203B41FA5}">
                      <a16:colId xmlns:a16="http://schemas.microsoft.com/office/drawing/2014/main" val="1402456235"/>
                    </a:ext>
                  </a:extLst>
                </a:gridCol>
              </a:tblGrid>
              <a:tr h="105690">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a:t>
                      </a:r>
                    </a:p>
                  </a:txBody>
                  <a:tcPr marL="0" marR="32586"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4610">
                <a:tc rowSpan="5">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3465">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4931" marR="54931" marT="27466" marB="27466">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06656">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txBody>
                  <a:tcPr marL="0" marR="32586"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pic>
        <p:nvPicPr>
          <p:cNvPr id="22" name="Picture 21">
            <a:extLst>
              <a:ext uri="{FF2B5EF4-FFF2-40B4-BE49-F238E27FC236}">
                <a16:creationId xmlns:a16="http://schemas.microsoft.com/office/drawing/2014/main" id="{2F3AEAC4-DC44-4D3F-BF46-3339379DD5D9}"/>
              </a:ext>
            </a:extLst>
          </p:cNvPr>
          <p:cNvPicPr>
            <a:picLocks noChangeAspect="1"/>
          </p:cNvPicPr>
          <p:nvPr/>
        </p:nvPicPr>
        <p:blipFill>
          <a:blip r:embed="rId15"/>
          <a:stretch>
            <a:fillRect/>
          </a:stretch>
        </p:blipFill>
        <p:spPr>
          <a:xfrm>
            <a:off x="12279377" y="189356"/>
            <a:ext cx="1203358" cy="5903533"/>
          </a:xfrm>
          <a:prstGeom prst="rect">
            <a:avLst/>
          </a:prstGeom>
        </p:spPr>
      </p:pic>
    </p:spTree>
    <p:extLst>
      <p:ext uri="{BB962C8B-B14F-4D97-AF65-F5344CB8AC3E}">
        <p14:creationId xmlns:p14="http://schemas.microsoft.com/office/powerpoint/2010/main" val="993860654"/>
      </p:ext>
    </p:extLst>
  </p:cSld>
  <p:clrMap bg1="lt1" tx1="dk1" bg2="lt2" tx2="dk2" accent1="accent1" accent2="accent2" accent3="accent3" accent4="accent4" accent5="accent5" accent6="accent6" hlink="hlink" folHlink="folHlink"/>
  <p:sldLayoutIdLst>
    <p:sldLayoutId id="2147483661" r:id="rId1"/>
    <p:sldLayoutId id="2147483671" r:id="rId2"/>
    <p:sldLayoutId id="2147483674" r:id="rId3"/>
    <p:sldLayoutId id="2147483696" r:id="rId4"/>
    <p:sldLayoutId id="2147483680" r:id="rId5"/>
    <p:sldLayoutId id="2147483681" r:id="rId6"/>
    <p:sldLayoutId id="2147483682" r:id="rId7"/>
    <p:sldLayoutId id="2147483683" r:id="rId8"/>
    <p:sldLayoutId id="2147483684" r:id="rId9"/>
    <p:sldLayoutId id="2147483685" r:id="rId10"/>
    <p:sldLayoutId id="2147483686" r:id="rId11"/>
    <p:sldLayoutId id="2147483707" r:id="rId12"/>
    <p:sldLayoutId id="2147483708"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microsoft.sharepoint.com/teams/Dynamics365FastTrack/Shared%20Documents/Success%20by%20Design/F%26O%20Specific%20Apps%20Workshops/_draft/Business%20Intelligence%20and%20Analytics%20Design/40%20Samples/ReportingRequirements.xlsx?web=1"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7.emf"/><Relationship Id="rId4" Type="http://schemas.openxmlformats.org/officeDocument/2006/relationships/package" Target="../embeddings/Microsoft_Excel_Worksheet.xlsx"/></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hyperlink" Target="https://www.microsoft.com/en-us/fasttrack/?rtc=1"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hemeOverride" Target="../theme/themeOverride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hyperlink" Target="https://microsoft.sharepoint.com/teams/Dynamics365FastTrack/Shared%20Documents/Success%20by%20Design/F%26O%20Specific%20Apps%20Workshops/_draft/Business%20Intelligence%20and%20Analytics%20Design/40%20Samples/ReportingRequirements.xlsx?web=1"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AB675F-0E53-4F4A-8014-781B09191E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1AAB675F-0E53-4F4A-8014-781B09191E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C688989-C678-4EEB-A04D-D19F3B124FD8}"/>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420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1" name="Title 1">
            <a:extLst>
              <a:ext uri="{FF2B5EF4-FFF2-40B4-BE49-F238E27FC236}">
                <a16:creationId xmlns:a16="http://schemas.microsoft.com/office/drawing/2014/main" id="{E5BCFD79-ACCF-4415-ABDE-04E18E58FD42}"/>
              </a:ext>
            </a:extLst>
          </p:cNvPr>
          <p:cNvSpPr txBox="1">
            <a:spLocks/>
          </p:cNvSpPr>
          <p:nvPr/>
        </p:nvSpPr>
        <p:spPr bwMode="auto">
          <a:xfrm>
            <a:off x="269303" y="1436913"/>
            <a:ext cx="5237645" cy="2433979"/>
          </a:xfrm>
          <a:prstGeom prst="rect">
            <a:avLst/>
          </a:prstGeom>
          <a:noFill/>
        </p:spPr>
        <p:txBody>
          <a:bodyPr vert="horz" wrap="square" lIns="146304" tIns="91440" rIns="146304" bIns="91440" rtlCol="0" anchor="t" anchorCtr="0">
            <a:noAutofit/>
          </a:bodyPr>
          <a:lstStyle>
            <a:lvl1pPr algn="l" defTabSz="914367" rtl="0" eaLnBrk="1" latinLnBrk="0" hangingPunct="1">
              <a:lnSpc>
                <a:spcPct val="90000"/>
              </a:lnSpc>
              <a:spcBef>
                <a:spcPct val="0"/>
              </a:spcBef>
              <a:buNone/>
              <a:defRPr lang="en-US" sz="4800" b="0" kern="1200" cap="none" spc="-98" baseline="0">
                <a:ln w="3175">
                  <a:noFill/>
                </a:ln>
                <a:solidFill>
                  <a:schemeClr val="bg1"/>
                </a:solidFill>
                <a:effectLst/>
                <a:latin typeface="+mj-lt"/>
                <a:ea typeface="+mn-ea"/>
                <a:cs typeface="Segoe UI" pitchFamily="34" charset="0"/>
              </a:defRPr>
            </a:lvl1pPr>
          </a:lstStyle>
          <a:p>
            <a:r>
              <a:rPr lang="en-US" sz="4200">
                <a:cs typeface="Segoe UI"/>
              </a:rPr>
              <a:t>FastTrack for Dynamics 365</a:t>
            </a:r>
            <a:endParaRPr lang="en-US" sz="4200"/>
          </a:p>
        </p:txBody>
      </p:sp>
      <p:sp>
        <p:nvSpPr>
          <p:cNvPr id="12" name="Text Placeholder 2">
            <a:extLst>
              <a:ext uri="{FF2B5EF4-FFF2-40B4-BE49-F238E27FC236}">
                <a16:creationId xmlns:a16="http://schemas.microsoft.com/office/drawing/2014/main" id="{48E052C0-54A6-4E53-A82E-17201AAB42C3}"/>
              </a:ext>
            </a:extLst>
          </p:cNvPr>
          <p:cNvSpPr>
            <a:spLocks noGrp="1"/>
          </p:cNvSpPr>
          <p:nvPr>
            <p:ph type="body" sz="quarter" idx="14"/>
          </p:nvPr>
        </p:nvSpPr>
        <p:spPr>
          <a:xfrm>
            <a:off x="267684" y="3927231"/>
            <a:ext cx="4651558" cy="715107"/>
          </a:xfrm>
        </p:spPr>
        <p:txBody>
          <a:bodyPr/>
          <a:lstStyle/>
          <a:p>
            <a:r>
              <a:rPr lang="en-US" sz="3000">
                <a:latin typeface="Segoe UI Semibold" panose="020B0702040204020203" pitchFamily="34" charset="0"/>
              </a:rPr>
              <a:t>Business Intelligence and Analytics Design Workshop</a:t>
            </a:r>
          </a:p>
        </p:txBody>
      </p:sp>
      <p:sp>
        <p:nvSpPr>
          <p:cNvPr id="13" name="Text Placeholder 2">
            <a:extLst>
              <a:ext uri="{FF2B5EF4-FFF2-40B4-BE49-F238E27FC236}">
                <a16:creationId xmlns:a16="http://schemas.microsoft.com/office/drawing/2014/main" id="{5865844A-B378-4D24-B7F0-B5D3709F5455}"/>
              </a:ext>
            </a:extLst>
          </p:cNvPr>
          <p:cNvSpPr txBox="1">
            <a:spLocks/>
          </p:cNvSpPr>
          <p:nvPr/>
        </p:nvSpPr>
        <p:spPr bwMode="auto">
          <a:xfrm>
            <a:off x="267683" y="5640745"/>
            <a:ext cx="4677342" cy="617302"/>
          </a:xfrm>
          <a:prstGeom prst="rect">
            <a:avLst/>
          </a:prstGeom>
        </p:spPr>
        <p:txBody>
          <a:bodyPr vert="horz" wrap="square" lIns="146304" tIns="109728" rIns="146304" bIns="109728" rtlCol="0" anchor="t">
            <a:noAutofit/>
          </a:bodyPr>
          <a:lstStyle>
            <a:lvl1pPr marL="0" marR="0" indent="0" algn="l" defTabSz="914367" rtl="0" eaLnBrk="1" fontAlgn="auto" latinLnBrk="0" hangingPunct="1">
              <a:lnSpc>
                <a:spcPct val="90000"/>
              </a:lnSpc>
              <a:spcBef>
                <a:spcPts val="0"/>
              </a:spcBef>
              <a:spcAft>
                <a:spcPts val="0"/>
              </a:spcAft>
              <a:buClrTx/>
              <a:buSzPct val="90000"/>
              <a:buFont typeface="Arial" pitchFamily="34" charset="0"/>
              <a:buNone/>
              <a:tabLst/>
              <a:defRPr sz="3200" kern="1200" spc="0" baseline="0">
                <a:solidFill>
                  <a:schemeClr val="bg1"/>
                </a:soli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a:ea typeface="+mn-lt"/>
                <a:cs typeface="+mn-lt"/>
              </a:rPr>
              <a:t>Workshop date: YYYY-MM-DD</a:t>
            </a:r>
            <a:endParaRPr lang="en-US"/>
          </a:p>
          <a:p>
            <a:endParaRPr lang="en-US" sz="2400">
              <a:cs typeface="Segoe UI Light" panose="020B0502040204020203" pitchFamily="34" charset="0"/>
            </a:endParaRPr>
          </a:p>
        </p:txBody>
      </p:sp>
    </p:spTree>
    <p:extLst>
      <p:ext uri="{BB962C8B-B14F-4D97-AF65-F5344CB8AC3E}">
        <p14:creationId xmlns:p14="http://schemas.microsoft.com/office/powerpoint/2010/main" val="3300356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a:solidFill>
                  <a:schemeClr val="tx1"/>
                </a:solidFill>
              </a:rPr>
              <a:t>BI &amp; Reporting Project Plan </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BI &amp; reporting project activities with respect to overall implementation of project plan.</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a:solidFill>
                  <a:srgbClr val="505050"/>
                </a:solidFill>
                <a:highlight>
                  <a:srgbClr val="FFFF00"/>
                </a:highlight>
                <a:latin typeface="Segoe UI" panose="020B0502040204020203" pitchFamily="34" charset="0"/>
              </a:rPr>
              <a:t>Please provide task details for reporting and BI related items. Please describe here or provide detailed project plan as relevant.  </a:t>
            </a:r>
            <a:r>
              <a:rPr lang="en-GB" sz="1600" b="0" i="0" u="none" strike="noStrike">
                <a:solidFill>
                  <a:srgbClr val="505050"/>
                </a:solidFill>
                <a:effectLst/>
                <a:highlight>
                  <a:srgbClr val="FFFF00"/>
                </a:highlight>
                <a:latin typeface="Segoe UI" panose="020B0502040204020203" pitchFamily="34" charset="0"/>
              </a:rPr>
              <a:t>​</a:t>
            </a: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1202634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a:solidFill>
                  <a:schemeClr val="tx1"/>
                </a:solidFill>
              </a:rPr>
              <a:t>Requirements and Fit Gaps</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reporting requirement and fit gaps. </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hlinkClick r:id="rId3"/>
            <a:extLst>
              <a:ext uri="{FF2B5EF4-FFF2-40B4-BE49-F238E27FC236}">
                <a16:creationId xmlns:a16="http://schemas.microsoft.com/office/drawing/2014/main" id="{9A3A42AD-9245-4AFB-9483-C03A6B5A9A5C}"/>
              </a:ext>
            </a:extLst>
          </p:cNvPr>
          <p:cNvSpPr/>
          <p:nvPr/>
        </p:nvSpPr>
        <p:spPr>
          <a:xfrm>
            <a:off x="457200" y="2260290"/>
            <a:ext cx="11277600" cy="3932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a:solidFill>
                  <a:srgbClr val="505050"/>
                </a:solidFill>
                <a:highlight>
                  <a:srgbClr val="FFFF00"/>
                </a:highlight>
                <a:latin typeface="Segoe UI" panose="020B0502040204020203" pitchFamily="34" charset="0"/>
              </a:rPr>
              <a:t>Please provide the detailed list of BI and reporting requirements and fit gap analysis. You can use sample bellow to prepare and provide the details.</a:t>
            </a: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graphicFrame>
        <p:nvGraphicFramePr>
          <p:cNvPr id="4" name="Object 3">
            <a:extLst>
              <a:ext uri="{FF2B5EF4-FFF2-40B4-BE49-F238E27FC236}">
                <a16:creationId xmlns:a16="http://schemas.microsoft.com/office/drawing/2014/main" id="{0A129B0B-4A50-4C77-8DD0-1DD687A08358}"/>
              </a:ext>
            </a:extLst>
          </p:cNvPr>
          <p:cNvGraphicFramePr>
            <a:graphicFrameLocks noChangeAspect="1"/>
          </p:cNvGraphicFramePr>
          <p:nvPr>
            <p:extLst>
              <p:ext uri="{D42A27DB-BD31-4B8C-83A1-F6EECF244321}">
                <p14:modId xmlns:p14="http://schemas.microsoft.com/office/powerpoint/2010/main" val="3193802697"/>
              </p:ext>
            </p:extLst>
          </p:nvPr>
        </p:nvGraphicFramePr>
        <p:xfrm>
          <a:off x="5894388" y="3405188"/>
          <a:ext cx="1179512" cy="2389187"/>
        </p:xfrm>
        <a:graphic>
          <a:graphicData uri="http://schemas.openxmlformats.org/presentationml/2006/ole">
            <mc:AlternateContent xmlns:mc="http://schemas.openxmlformats.org/markup-compatibility/2006">
              <mc:Choice xmlns:v="urn:schemas-microsoft-com:vml" Requires="v">
                <p:oleObj name="Worksheet" showAsIcon="1" r:id="rId4" imgW="388440" imgH="787320" progId="Excel.Sheet.12">
                  <p:embed/>
                </p:oleObj>
              </mc:Choice>
              <mc:Fallback>
                <p:oleObj name="Worksheet" showAsIcon="1" r:id="rId4" imgW="388440" imgH="787320" progId="Excel.Sheet.12">
                  <p:embed/>
                  <p:pic>
                    <p:nvPicPr>
                      <p:cNvPr id="4" name="Object 3">
                        <a:extLst>
                          <a:ext uri="{FF2B5EF4-FFF2-40B4-BE49-F238E27FC236}">
                            <a16:creationId xmlns:a16="http://schemas.microsoft.com/office/drawing/2014/main" id="{0A129B0B-4A50-4C77-8DD0-1DD687A08358}"/>
                          </a:ext>
                        </a:extLst>
                      </p:cNvPr>
                      <p:cNvPicPr/>
                      <p:nvPr/>
                    </p:nvPicPr>
                    <p:blipFill>
                      <a:blip r:embed="rId5"/>
                      <a:stretch>
                        <a:fillRect/>
                      </a:stretch>
                    </p:blipFill>
                    <p:spPr>
                      <a:xfrm>
                        <a:off x="5894388" y="3405188"/>
                        <a:ext cx="1179512" cy="2389187"/>
                      </a:xfrm>
                      <a:prstGeom prst="rect">
                        <a:avLst/>
                      </a:prstGeom>
                    </p:spPr>
                  </p:pic>
                </p:oleObj>
              </mc:Fallback>
            </mc:AlternateContent>
          </a:graphicData>
        </a:graphic>
      </p:graphicFrame>
    </p:spTree>
    <p:extLst>
      <p:ext uri="{BB962C8B-B14F-4D97-AF65-F5344CB8AC3E}">
        <p14:creationId xmlns:p14="http://schemas.microsoft.com/office/powerpoint/2010/main" val="101873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2179058"/>
          </a:xfrm>
        </p:spPr>
        <p:txBody>
          <a:bodyPr/>
          <a:lstStyle/>
          <a:p>
            <a:r>
              <a:rPr lang="en-US" sz="7200">
                <a:solidFill>
                  <a:schemeClr val="tx1"/>
                </a:solidFill>
                <a:latin typeface="Segoe UI" panose="020B0502040204020203" pitchFamily="34" charset="0"/>
                <a:cs typeface="Times New Roman" panose="02020603050405020304" pitchFamily="18" charset="0"/>
              </a:rPr>
              <a:t>BI &amp; Reporting Solution Strategy</a:t>
            </a:r>
          </a:p>
        </p:txBody>
      </p:sp>
    </p:spTree>
    <p:extLst>
      <p:ext uri="{BB962C8B-B14F-4D97-AF65-F5344CB8AC3E}">
        <p14:creationId xmlns:p14="http://schemas.microsoft.com/office/powerpoint/2010/main" val="374463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a:solidFill>
                  <a:schemeClr val="tx1"/>
                </a:solidFill>
              </a:rPr>
              <a:t>Self-Serve Reporting</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solution strategies for self-serve reporting requirements.</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fontAlgn="base"/>
            <a:r>
              <a:rPr lang="en-GB" sz="1600">
                <a:solidFill>
                  <a:srgbClr val="505050"/>
                </a:solidFill>
                <a:highlight>
                  <a:srgbClr val="FFFF00"/>
                </a:highlight>
                <a:latin typeface="Segoe UI" panose="020B0502040204020203" pitchFamily="34" charset="0"/>
              </a:rPr>
              <a:t>Solution strategy to solve self-serve reporting requirements. </a:t>
            </a:r>
            <a:r>
              <a:rPr lang="en-US" sz="1600">
                <a:solidFill>
                  <a:srgbClr val="505050"/>
                </a:solidFill>
                <a:highlight>
                  <a:srgbClr val="FFFF00"/>
                </a:highlight>
                <a:latin typeface="Segoe UI" panose="020B0502040204020203" pitchFamily="34" charset="0"/>
              </a:rPr>
              <a:t>Native Controls (Dashboards, views, charts, embedded PBI, etc.)</a:t>
            </a: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3095948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a:solidFill>
                  <a:schemeClr val="tx1"/>
                </a:solidFill>
              </a:rPr>
              <a:t>Operational Reporting</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solution strategies for operational reporting requirements.</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b="0" i="0" u="none" strike="noStrike">
                <a:solidFill>
                  <a:srgbClr val="505050"/>
                </a:solidFill>
                <a:effectLst/>
                <a:highlight>
                  <a:srgbClr val="FFFF00"/>
                </a:highlight>
                <a:latin typeface="Segoe UI" panose="020B0502040204020203" pitchFamily="34" charset="0"/>
              </a:rPr>
              <a:t>Provide details related to operational reporting solution strategy for operational reports that are identified as gap..​</a:t>
            </a: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1973701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dirty="0">
                <a:solidFill>
                  <a:schemeClr val="tx1"/>
                </a:solidFill>
              </a:rPr>
              <a:t>Regulatory and Financial Reporting (F&amp;O)</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578639"/>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solution strategies for operational reporting requirements related to business documents, regulatory reporting and financial reporting.</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p>
          <a:p>
            <a:pPr algn="ctr"/>
            <a:r>
              <a:rPr lang="en-US" sz="1600" i="1">
                <a:solidFill>
                  <a:schemeClr val="tx1"/>
                </a:solidFill>
                <a:highlight>
                  <a:srgbClr val="FFFF00"/>
                </a:highlight>
              </a:rPr>
              <a:t>Provide details around solution strategy to solve Finance and Operations Apps specific operational reporting such as  regulatory and financial reporting requirements.  </a:t>
            </a:r>
            <a:endParaRPr lang="en-GB" sz="1600">
              <a:solidFill>
                <a:schemeClr val="tx1"/>
              </a:solidFill>
            </a:endParaRP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875196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dirty="0">
                <a:solidFill>
                  <a:schemeClr val="tx1"/>
                </a:solidFill>
              </a:rPr>
              <a:t>Printing Strategy (F&amp;O)</a:t>
            </a:r>
            <a:endParaRPr lang="en-US" sz="4000" dirty="0">
              <a:solidFill>
                <a:schemeClr val="tx1"/>
              </a:solidFill>
            </a:endParaRP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requirement and solution strategies for printing.</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a:solidFill>
                  <a:srgbClr val="505050"/>
                </a:solidFill>
                <a:highlight>
                  <a:srgbClr val="FFFF00"/>
                </a:highlight>
                <a:latin typeface="Segoe UI" panose="020B0502040204020203" pitchFamily="34" charset="0"/>
              </a:rPr>
              <a:t>Provide details on requirement and solution strategies related to business documents,  warehouse and production execution label printing and other printing requirements. </a:t>
            </a: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265368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a:solidFill>
                  <a:schemeClr val="tx1"/>
                </a:solidFill>
              </a:rPr>
              <a:t>Strategic</a:t>
            </a:r>
            <a:r>
              <a:rPr lang="en-US" sz="4000">
                <a:solidFill>
                  <a:schemeClr val="tx1"/>
                </a:solidFill>
              </a:rPr>
              <a:t> Reporting</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solution strategies for strategic reporting requirements.</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b="0" i="0" u="none" strike="noStrike">
                <a:solidFill>
                  <a:srgbClr val="505050"/>
                </a:solidFill>
                <a:effectLst/>
                <a:highlight>
                  <a:srgbClr val="FFFF00"/>
                </a:highlight>
                <a:latin typeface="Segoe UI" panose="020B0502040204020203" pitchFamily="34" charset="0"/>
              </a:rPr>
              <a:t>Provide details related to </a:t>
            </a:r>
            <a:r>
              <a:rPr lang="en-GB" sz="1600">
                <a:solidFill>
                  <a:srgbClr val="505050"/>
                </a:solidFill>
                <a:highlight>
                  <a:srgbClr val="FFFF00"/>
                </a:highlight>
                <a:latin typeface="Segoe UI" panose="020B0502040204020203" pitchFamily="34" charset="0"/>
              </a:rPr>
              <a:t>strategic</a:t>
            </a:r>
            <a:r>
              <a:rPr lang="en-GB" sz="1600" b="0" i="0" u="none" strike="noStrike">
                <a:solidFill>
                  <a:srgbClr val="505050"/>
                </a:solidFill>
                <a:effectLst/>
                <a:highlight>
                  <a:srgbClr val="FFFF00"/>
                </a:highlight>
                <a:latin typeface="Segoe UI" panose="020B0502040204020203" pitchFamily="34" charset="0"/>
              </a:rPr>
              <a:t> reporting solution strategy for </a:t>
            </a:r>
            <a:r>
              <a:rPr lang="en-GB" sz="1600">
                <a:solidFill>
                  <a:srgbClr val="505050"/>
                </a:solidFill>
                <a:highlight>
                  <a:srgbClr val="FFFF00"/>
                </a:highlight>
                <a:latin typeface="Segoe UI" panose="020B0502040204020203" pitchFamily="34" charset="0"/>
              </a:rPr>
              <a:t>example KPIs, trends or in-depth data analysis</a:t>
            </a:r>
            <a:r>
              <a:rPr lang="en-GB" sz="1600" b="0" i="0" u="none" strike="noStrike">
                <a:solidFill>
                  <a:srgbClr val="505050"/>
                </a:solidFill>
                <a:effectLst/>
                <a:highlight>
                  <a:srgbClr val="FFFF00"/>
                </a:highlight>
                <a:latin typeface="Segoe UI" panose="020B0502040204020203" pitchFamily="34" charset="0"/>
              </a:rPr>
              <a:t>. </a:t>
            </a: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770204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a:solidFill>
                  <a:schemeClr val="tx1"/>
                </a:solidFill>
              </a:rPr>
              <a:t>Data Security</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cs typeface="Segoe UI"/>
              </a:rPr>
              <a:t>Data security requirements and solution strategy.</a:t>
            </a:r>
            <a:endParaRPr lang="en-US" sz="1600">
              <a:solidFill>
                <a:schemeClr val="tx1"/>
              </a:solidFill>
              <a:highlight>
                <a:srgbClr val="FFFF00"/>
              </a:highlight>
              <a:cs typeface="Segoe UI"/>
            </a:endParaRP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b="0" i="0" u="none" strike="noStrike">
                <a:solidFill>
                  <a:srgbClr val="505050"/>
                </a:solidFill>
                <a:effectLst/>
                <a:highlight>
                  <a:srgbClr val="FFFF00"/>
                </a:highlight>
                <a:latin typeface="Segoe UI" panose="020B0502040204020203" pitchFamily="34" charset="0"/>
              </a:rPr>
              <a:t>Provide </a:t>
            </a:r>
            <a:r>
              <a:rPr lang="en-GB" sz="1600">
                <a:solidFill>
                  <a:srgbClr val="505050"/>
                </a:solidFill>
                <a:highlight>
                  <a:srgbClr val="FFFF00"/>
                </a:highlight>
                <a:latin typeface="Segoe UI" panose="020B0502040204020203" pitchFamily="34" charset="0"/>
              </a:rPr>
              <a:t>requirements and solution approach towards data security related requirements</a:t>
            </a:r>
            <a:r>
              <a:rPr lang="en-GB" sz="1600" b="0" i="0" u="none" strike="noStrike">
                <a:solidFill>
                  <a:srgbClr val="505050"/>
                </a:solidFill>
                <a:effectLst/>
                <a:highlight>
                  <a:srgbClr val="FFFF00"/>
                </a:highlight>
                <a:latin typeface="Segoe UI" panose="020B0502040204020203" pitchFamily="34" charset="0"/>
              </a:rPr>
              <a:t>.​</a:t>
            </a: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151641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a:t>Q&amp;A</a:t>
            </a:r>
          </a:p>
        </p:txBody>
      </p:sp>
      <p:sp>
        <p:nvSpPr>
          <p:cNvPr id="18" name="Rectangle 17">
            <a:extLst>
              <a:ext uri="{FF2B5EF4-FFF2-40B4-BE49-F238E27FC236}">
                <a16:creationId xmlns:a16="http://schemas.microsoft.com/office/drawing/2014/main" id="{9E0DB5B5-71CC-4A82-83C7-4427225E89B4}"/>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Brief Q&amp;A to discuss any additional topic areas.</a:t>
            </a:r>
          </a:p>
        </p:txBody>
      </p:sp>
      <p:grpSp>
        <p:nvGrpSpPr>
          <p:cNvPr id="19" name="Group 18">
            <a:extLst>
              <a:ext uri="{FF2B5EF4-FFF2-40B4-BE49-F238E27FC236}">
                <a16:creationId xmlns:a16="http://schemas.microsoft.com/office/drawing/2014/main" id="{369EA57D-195B-4FC2-A16F-1D98E98E9A6D}"/>
              </a:ext>
            </a:extLst>
          </p:cNvPr>
          <p:cNvGrpSpPr/>
          <p:nvPr/>
        </p:nvGrpSpPr>
        <p:grpSpPr>
          <a:xfrm>
            <a:off x="457200" y="1993398"/>
            <a:ext cx="326112" cy="326112"/>
            <a:chOff x="115497" y="1864737"/>
            <a:chExt cx="461744" cy="461744"/>
          </a:xfrm>
          <a:solidFill>
            <a:schemeClr val="tx2"/>
          </a:solidFill>
        </p:grpSpPr>
        <p:sp>
          <p:nvSpPr>
            <p:cNvPr id="20" name="Freeform: Shape 19">
              <a:extLst>
                <a:ext uri="{FF2B5EF4-FFF2-40B4-BE49-F238E27FC236}">
                  <a16:creationId xmlns:a16="http://schemas.microsoft.com/office/drawing/2014/main" id="{6D5F158D-72EA-4FD7-9A32-476745931B0D}"/>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Graphic 77">
              <a:extLst>
                <a:ext uri="{FF2B5EF4-FFF2-40B4-BE49-F238E27FC236}">
                  <a16:creationId xmlns:a16="http://schemas.microsoft.com/office/drawing/2014/main" id="{3CA31C58-F974-4272-8468-1BE1EE27E61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8" name="Rectangle 37">
            <a:extLst>
              <a:ext uri="{FF2B5EF4-FFF2-40B4-BE49-F238E27FC236}">
                <a16:creationId xmlns:a16="http://schemas.microsoft.com/office/drawing/2014/main" id="{54FDBA81-4E94-4312-93CB-C497C8DC0C5E}"/>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List questions and follow up actions</a:t>
            </a:r>
          </a:p>
        </p:txBody>
      </p:sp>
      <p:sp>
        <p:nvSpPr>
          <p:cNvPr id="9" name="Rectangle 8">
            <a:extLst>
              <a:ext uri="{FF2B5EF4-FFF2-40B4-BE49-F238E27FC236}">
                <a16:creationId xmlns:a16="http://schemas.microsoft.com/office/drawing/2014/main" id="{7BCE2C40-90DB-4FC2-953D-507B8E0183F5}"/>
              </a:ext>
            </a:extLst>
          </p:cNvPr>
          <p:cNvSpPr/>
          <p:nvPr/>
        </p:nvSpPr>
        <p:spPr>
          <a:xfrm>
            <a:off x="8419249" y="0"/>
            <a:ext cx="3772751"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85563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181862"/>
          </a:xfrm>
        </p:spPr>
        <p:txBody>
          <a:bodyPr/>
          <a:lstStyle/>
          <a:p>
            <a:r>
              <a:rPr lang="en-GB" sz="7200">
                <a:solidFill>
                  <a:schemeClr val="tx1"/>
                </a:solidFill>
              </a:rPr>
              <a:t>Introductions</a:t>
            </a:r>
          </a:p>
        </p:txBody>
      </p:sp>
    </p:spTree>
    <p:extLst>
      <p:ext uri="{BB962C8B-B14F-4D97-AF65-F5344CB8AC3E}">
        <p14:creationId xmlns:p14="http://schemas.microsoft.com/office/powerpoint/2010/main" val="1857253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t>Next Steps</a:t>
            </a:r>
          </a:p>
        </p:txBody>
      </p:sp>
      <p:sp>
        <p:nvSpPr>
          <p:cNvPr id="26" name="Rectangle 25">
            <a:extLst>
              <a:ext uri="{FF2B5EF4-FFF2-40B4-BE49-F238E27FC236}">
                <a16:creationId xmlns:a16="http://schemas.microsoft.com/office/drawing/2014/main" id="{3EE3908A-E7B2-4491-9919-73E1BE3FA993}"/>
              </a:ext>
            </a:extLst>
          </p:cNvPr>
          <p:cNvSpPr/>
          <p:nvPr/>
        </p:nvSpPr>
        <p:spPr>
          <a:xfrm>
            <a:off x="506804"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a:solidFill>
                  <a:schemeClr val="tx1"/>
                </a:solidFill>
              </a:rPr>
              <a:t>Discuss next steps and action items.</a:t>
            </a:r>
          </a:p>
        </p:txBody>
      </p:sp>
      <p:grpSp>
        <p:nvGrpSpPr>
          <p:cNvPr id="28" name="Group 27">
            <a:extLst>
              <a:ext uri="{FF2B5EF4-FFF2-40B4-BE49-F238E27FC236}">
                <a16:creationId xmlns:a16="http://schemas.microsoft.com/office/drawing/2014/main" id="{5EB24ABA-7791-4106-98DF-BC19E22E4C94}"/>
              </a:ext>
            </a:extLst>
          </p:cNvPr>
          <p:cNvGrpSpPr/>
          <p:nvPr/>
        </p:nvGrpSpPr>
        <p:grpSpPr>
          <a:xfrm>
            <a:off x="457200" y="1993398"/>
            <a:ext cx="326112" cy="326112"/>
            <a:chOff x="115497" y="1864737"/>
            <a:chExt cx="461744" cy="461744"/>
          </a:xfrm>
          <a:solidFill>
            <a:schemeClr val="tx2"/>
          </a:solidFill>
        </p:grpSpPr>
        <p:sp>
          <p:nvSpPr>
            <p:cNvPr id="29" name="Freeform: Shape 28">
              <a:extLst>
                <a:ext uri="{FF2B5EF4-FFF2-40B4-BE49-F238E27FC236}">
                  <a16:creationId xmlns:a16="http://schemas.microsoft.com/office/drawing/2014/main" id="{D6BC7BB6-3E3D-4013-9223-2902E1AC58E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Graphic 77">
              <a:extLst>
                <a:ext uri="{FF2B5EF4-FFF2-40B4-BE49-F238E27FC236}">
                  <a16:creationId xmlns:a16="http://schemas.microsoft.com/office/drawing/2014/main" id="{7945BD11-124E-4F10-9642-9099F23D22A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1" name="Rectangle 30">
            <a:extLst>
              <a:ext uri="{FF2B5EF4-FFF2-40B4-BE49-F238E27FC236}">
                <a16:creationId xmlns:a16="http://schemas.microsoft.com/office/drawing/2014/main" id="{A35E9EE8-3792-4935-BDF4-3CC3B6FBB0A0}"/>
              </a:ext>
            </a:extLst>
          </p:cNvPr>
          <p:cNvSpPr/>
          <p:nvPr/>
        </p:nvSpPr>
        <p:spPr>
          <a:xfrm>
            <a:off x="6810998" y="1895262"/>
            <a:ext cx="4923802" cy="46198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a:solidFill>
                  <a:schemeClr val="tx1"/>
                </a:solidFill>
              </a:rPr>
              <a:t>List next steps and action items</a:t>
            </a:r>
          </a:p>
        </p:txBody>
      </p:sp>
      <p:sp>
        <p:nvSpPr>
          <p:cNvPr id="9" name="Rectangle 8">
            <a:extLst>
              <a:ext uri="{FF2B5EF4-FFF2-40B4-BE49-F238E27FC236}">
                <a16:creationId xmlns:a16="http://schemas.microsoft.com/office/drawing/2014/main" id="{87A46D8A-4DC1-4337-8C6F-46DCD83BAF11}"/>
              </a:ext>
            </a:extLst>
          </p:cNvPr>
          <p:cNvSpPr/>
          <p:nvPr/>
        </p:nvSpPr>
        <p:spPr>
          <a:xfrm>
            <a:off x="8419249" y="0"/>
            <a:ext cx="3772751"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Tree>
    <p:extLst>
      <p:ext uri="{BB962C8B-B14F-4D97-AF65-F5344CB8AC3E}">
        <p14:creationId xmlns:p14="http://schemas.microsoft.com/office/powerpoint/2010/main" val="263397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ccess by Design</a:t>
            </a:r>
          </a:p>
        </p:txBody>
      </p:sp>
      <p:sp>
        <p:nvSpPr>
          <p:cNvPr id="51" name="Rectangle 50">
            <a:extLst>
              <a:ext uri="{FF2B5EF4-FFF2-40B4-BE49-F238E27FC236}">
                <a16:creationId xmlns:a16="http://schemas.microsoft.com/office/drawing/2014/main" id="{45E8027B-C103-4522-8B97-572E1A99FAF9}"/>
              </a:ext>
            </a:extLst>
          </p:cNvPr>
          <p:cNvSpPr/>
          <p:nvPr/>
        </p:nvSpPr>
        <p:spPr>
          <a:xfrm>
            <a:off x="435763" y="6183201"/>
            <a:ext cx="4717453" cy="307777"/>
          </a:xfrm>
          <a:prstGeom prst="rect">
            <a:avLst/>
          </a:prstGeom>
          <a:noFill/>
        </p:spPr>
        <p:txBody>
          <a:bodyPr wrap="square" lIns="0">
            <a:spAutoFit/>
          </a:bodyPr>
          <a:lstStyle/>
          <a:p>
            <a:pPr defTabSz="895698">
              <a:defRPr/>
            </a:pPr>
            <a:r>
              <a:rPr lang="en-US" sz="1400" kern="0">
                <a:solidFill>
                  <a:schemeClr val="accent2"/>
                </a:solidFill>
                <a:latin typeface="Segoe UI Semibold" panose="020B0702040204020203" pitchFamily="34" charset="0"/>
                <a:cs typeface="Segoe UI Semibold" panose="020B0702040204020203" pitchFamily="34" charset="0"/>
                <a:hlinkClick r:id="rId3">
                  <a:extLst>
                    <a:ext uri="{A12FA001-AC4F-418D-AE19-62706E023703}">
                      <ahyp:hlinkClr xmlns:ahyp="http://schemas.microsoft.com/office/drawing/2018/hyperlinkcolor" val="tx"/>
                    </a:ext>
                  </a:extLst>
                </a:hlinkClick>
              </a:rPr>
              <a:t>FastTrack.microsoft.com</a:t>
            </a:r>
            <a:endParaRPr lang="en-US" sz="1400" kern="0">
              <a:solidFill>
                <a:schemeClr val="accent2"/>
              </a:solidFill>
              <a:latin typeface="Segoe UI Semibold" panose="020B0702040204020203" pitchFamily="34" charset="0"/>
              <a:cs typeface="Segoe UI Semibold" panose="020B0702040204020203" pitchFamily="34" charset="0"/>
            </a:endParaRPr>
          </a:p>
        </p:txBody>
      </p:sp>
      <p:sp>
        <p:nvSpPr>
          <p:cNvPr id="21" name="Rectangle 20">
            <a:extLst>
              <a:ext uri="{FF2B5EF4-FFF2-40B4-BE49-F238E27FC236}">
                <a16:creationId xmlns:a16="http://schemas.microsoft.com/office/drawing/2014/main" id="{15247862-C2AD-40E7-960A-592F6E2A2B27}"/>
              </a:ext>
            </a:extLst>
          </p:cNvPr>
          <p:cNvSpPr/>
          <p:nvPr/>
        </p:nvSpPr>
        <p:spPr>
          <a:xfrm>
            <a:off x="321594" y="919470"/>
            <a:ext cx="11431531" cy="461665"/>
          </a:xfrm>
          <a:prstGeom prst="rect">
            <a:avLst/>
          </a:prstGeom>
        </p:spPr>
        <p:txBody>
          <a:bodyPr wrap="square">
            <a:spAutoFit/>
          </a:bodyPr>
          <a:lstStyle/>
          <a:p>
            <a:r>
              <a:rPr lang="en-US" sz="2400">
                <a:ln w="3175">
                  <a:noFill/>
                </a:ln>
                <a:cs typeface="Segoe UI" pitchFamily="34" charset="0"/>
              </a:rPr>
              <a:t>Our success framework</a:t>
            </a:r>
          </a:p>
        </p:txBody>
      </p:sp>
      <p:cxnSp>
        <p:nvCxnSpPr>
          <p:cNvPr id="108" name="Straight Connector 107">
            <a:extLst>
              <a:ext uri="{FF2B5EF4-FFF2-40B4-BE49-F238E27FC236}">
                <a16:creationId xmlns:a16="http://schemas.microsoft.com/office/drawing/2014/main" id="{940BDD52-E2E4-4BED-B0C7-A59AAC352D97}"/>
              </a:ext>
            </a:extLst>
          </p:cNvPr>
          <p:cNvCxnSpPr>
            <a:cxnSpLocks/>
          </p:cNvCxnSpPr>
          <p:nvPr/>
        </p:nvCxnSpPr>
        <p:spPr>
          <a:xfrm>
            <a:off x="1471632" y="2527636"/>
            <a:ext cx="5538304" cy="0"/>
          </a:xfrm>
          <a:prstGeom prst="line">
            <a:avLst/>
          </a:prstGeom>
          <a:noFill/>
          <a:ln w="3175">
            <a:solidFill>
              <a:schemeClr val="bg1">
                <a:lumMod val="85000"/>
              </a:schemeClr>
            </a:solidFill>
            <a:prstDash val="dash"/>
          </a:ln>
        </p:spPr>
      </p:cxnSp>
      <p:cxnSp>
        <p:nvCxnSpPr>
          <p:cNvPr id="110" name="Straight Connector 109">
            <a:extLst>
              <a:ext uri="{FF2B5EF4-FFF2-40B4-BE49-F238E27FC236}">
                <a16:creationId xmlns:a16="http://schemas.microsoft.com/office/drawing/2014/main" id="{5620C0C8-DA0B-4BA3-AC09-84734C8E8B5C}"/>
              </a:ext>
            </a:extLst>
          </p:cNvPr>
          <p:cNvCxnSpPr>
            <a:cxnSpLocks/>
          </p:cNvCxnSpPr>
          <p:nvPr/>
        </p:nvCxnSpPr>
        <p:spPr>
          <a:xfrm>
            <a:off x="1471632" y="4541454"/>
            <a:ext cx="5538304" cy="0"/>
          </a:xfrm>
          <a:prstGeom prst="line">
            <a:avLst/>
          </a:prstGeom>
          <a:noFill/>
          <a:ln w="3175">
            <a:solidFill>
              <a:schemeClr val="bg1">
                <a:lumMod val="85000"/>
              </a:schemeClr>
            </a:solidFill>
            <a:prstDash val="dash"/>
          </a:ln>
        </p:spPr>
      </p:cxnSp>
      <p:grpSp>
        <p:nvGrpSpPr>
          <p:cNvPr id="18" name="Group 17">
            <a:extLst>
              <a:ext uri="{FF2B5EF4-FFF2-40B4-BE49-F238E27FC236}">
                <a16:creationId xmlns:a16="http://schemas.microsoft.com/office/drawing/2014/main" id="{D93D151E-1C7E-41D3-B466-850E279D563C}"/>
              </a:ext>
            </a:extLst>
          </p:cNvPr>
          <p:cNvGrpSpPr/>
          <p:nvPr/>
        </p:nvGrpSpPr>
        <p:grpSpPr>
          <a:xfrm>
            <a:off x="1438293" y="2678397"/>
            <a:ext cx="5514791" cy="1689296"/>
            <a:chOff x="1501140" y="2848018"/>
            <a:chExt cx="5775960" cy="1723170"/>
          </a:xfrm>
        </p:grpSpPr>
        <p:sp>
          <p:nvSpPr>
            <p:cNvPr id="13" name="Rectangle 12">
              <a:extLst>
                <a:ext uri="{FF2B5EF4-FFF2-40B4-BE49-F238E27FC236}">
                  <a16:creationId xmlns:a16="http://schemas.microsoft.com/office/drawing/2014/main" id="{DF55EDC2-5401-438D-A6F5-08071D2628F2}"/>
                </a:ext>
              </a:extLst>
            </p:cNvPr>
            <p:cNvSpPr/>
            <p:nvPr/>
          </p:nvSpPr>
          <p:spPr>
            <a:xfrm>
              <a:off x="1501140" y="2848018"/>
              <a:ext cx="5775960" cy="73165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784338">
                <a:spcBef>
                  <a:spcPct val="0"/>
                </a:spcBef>
                <a:spcAft>
                  <a:spcPct val="35000"/>
                </a:spcAft>
              </a:pPr>
              <a:r>
                <a:rPr lang="en-US" sz="1961">
                  <a:solidFill>
                    <a:schemeClr val="tx1"/>
                  </a:solidFill>
                </a:rPr>
                <a:t>The framework is designed around three core principles </a:t>
              </a:r>
            </a:p>
          </p:txBody>
        </p:sp>
        <p:sp>
          <p:nvSpPr>
            <p:cNvPr id="14" name="Rectangle 13">
              <a:extLst>
                <a:ext uri="{FF2B5EF4-FFF2-40B4-BE49-F238E27FC236}">
                  <a16:creationId xmlns:a16="http://schemas.microsoft.com/office/drawing/2014/main" id="{37575196-25AE-42C2-A5B1-7F6C4F348016}"/>
                </a:ext>
              </a:extLst>
            </p:cNvPr>
            <p:cNvSpPr/>
            <p:nvPr/>
          </p:nvSpPr>
          <p:spPr>
            <a:xfrm>
              <a:off x="1592580" y="3581201"/>
              <a:ext cx="5684520" cy="989987"/>
            </a:xfrm>
            <a:prstGeom prst="rect">
              <a:avLst/>
            </a:prstGeom>
            <a:noFill/>
            <a:ln>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spAutoFit/>
            </a:bodyPr>
            <a:lstStyle/>
            <a:p>
              <a:pPr marL="224097" lvl="1" indent="-224097" defTabSz="610041">
                <a:spcBef>
                  <a:spcPct val="0"/>
                </a:spcBef>
                <a:spcAft>
                  <a:spcPts val="588"/>
                </a:spcAft>
                <a:buChar char="•"/>
              </a:pPr>
              <a:r>
                <a:rPr lang="en-US" sz="1765">
                  <a:solidFill>
                    <a:schemeClr val="tx1"/>
                  </a:solidFill>
                </a:rPr>
                <a:t>Early Discovery</a:t>
              </a:r>
            </a:p>
            <a:p>
              <a:pPr marL="224097" lvl="1" indent="-224097" defTabSz="610041">
                <a:spcBef>
                  <a:spcPct val="0"/>
                </a:spcBef>
                <a:spcAft>
                  <a:spcPts val="588"/>
                </a:spcAft>
                <a:buChar char="•"/>
              </a:pPr>
              <a:r>
                <a:rPr lang="en-US" sz="1765">
                  <a:solidFill>
                    <a:schemeClr val="tx1"/>
                  </a:solidFill>
                </a:rPr>
                <a:t>Proactive Guidance </a:t>
              </a:r>
            </a:p>
            <a:p>
              <a:pPr marL="224097" lvl="1" indent="-224097" defTabSz="610041">
                <a:spcBef>
                  <a:spcPct val="0"/>
                </a:spcBef>
                <a:spcAft>
                  <a:spcPts val="588"/>
                </a:spcAft>
                <a:buChar char="•"/>
              </a:pPr>
              <a:r>
                <a:rPr lang="en-US" sz="1765">
                  <a:solidFill>
                    <a:schemeClr val="tx1"/>
                  </a:solidFill>
                </a:rPr>
                <a:t>Predictable Success</a:t>
              </a:r>
            </a:p>
          </p:txBody>
        </p:sp>
      </p:grpSp>
      <p:sp>
        <p:nvSpPr>
          <p:cNvPr id="52" name="Oval 51">
            <a:extLst>
              <a:ext uri="{FF2B5EF4-FFF2-40B4-BE49-F238E27FC236}">
                <a16:creationId xmlns:a16="http://schemas.microsoft.com/office/drawing/2014/main" id="{66D22106-37EB-4F14-A05E-8100125726E7}"/>
              </a:ext>
            </a:extLst>
          </p:cNvPr>
          <p:cNvSpPr/>
          <p:nvPr/>
        </p:nvSpPr>
        <p:spPr>
          <a:xfrm>
            <a:off x="443399" y="2677217"/>
            <a:ext cx="780599" cy="780599"/>
          </a:xfrm>
          <a:prstGeom prst="ellipse">
            <a:avLst/>
          </a:prstGeom>
          <a:solidFill>
            <a:schemeClr val="tx2"/>
          </a:solidFill>
        </p:spPr>
        <p:txBody>
          <a:bodyPr wrap="square" lIns="0" tIns="0" rIns="0" bIns="0" rtlCol="0" anchor="ctr">
            <a:noAutofit/>
          </a:bodyPr>
          <a:lstStyle/>
          <a:p>
            <a:pPr algn="ctr"/>
            <a:endParaRPr lang="en-US" sz="1765">
              <a:latin typeface="Segoe UI"/>
            </a:endParaRPr>
          </a:p>
        </p:txBody>
      </p:sp>
      <p:sp>
        <p:nvSpPr>
          <p:cNvPr id="15" name="Rectangle 14">
            <a:extLst>
              <a:ext uri="{FF2B5EF4-FFF2-40B4-BE49-F238E27FC236}">
                <a16:creationId xmlns:a16="http://schemas.microsoft.com/office/drawing/2014/main" id="{8B788170-FA75-4EF9-B4A8-4BC93CC9CDEA}"/>
              </a:ext>
            </a:extLst>
          </p:cNvPr>
          <p:cNvSpPr/>
          <p:nvPr/>
        </p:nvSpPr>
        <p:spPr>
          <a:xfrm>
            <a:off x="1471631" y="4693436"/>
            <a:ext cx="5514791" cy="105036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784338">
              <a:spcBef>
                <a:spcPct val="0"/>
              </a:spcBef>
              <a:spcAft>
                <a:spcPct val="35000"/>
              </a:spcAft>
            </a:pPr>
            <a:r>
              <a:rPr lang="en-US" sz="1961">
                <a:solidFill>
                  <a:schemeClr val="tx1"/>
                </a:solidFill>
              </a:rPr>
              <a:t>Success by Design brings you the learnings and experiences from thousands of customer cloud deployments to make your journey to cloud smoother, faster and successful</a:t>
            </a:r>
          </a:p>
        </p:txBody>
      </p:sp>
      <p:sp>
        <p:nvSpPr>
          <p:cNvPr id="53" name="Oval 52">
            <a:extLst>
              <a:ext uri="{FF2B5EF4-FFF2-40B4-BE49-F238E27FC236}">
                <a16:creationId xmlns:a16="http://schemas.microsoft.com/office/drawing/2014/main" id="{319C0DD1-70F5-4A9E-8D10-39FA7EC07DAF}"/>
              </a:ext>
            </a:extLst>
          </p:cNvPr>
          <p:cNvSpPr/>
          <p:nvPr/>
        </p:nvSpPr>
        <p:spPr>
          <a:xfrm>
            <a:off x="443399" y="4628345"/>
            <a:ext cx="780599" cy="780600"/>
          </a:xfrm>
          <a:prstGeom prst="ellipse">
            <a:avLst/>
          </a:prstGeom>
          <a:solidFill>
            <a:schemeClr val="tx2"/>
          </a:solidFill>
        </p:spPr>
        <p:txBody>
          <a:bodyPr wrap="square" lIns="0" tIns="0" rIns="0" bIns="0" rtlCol="0" anchor="ctr">
            <a:noAutofit/>
          </a:bodyPr>
          <a:lstStyle/>
          <a:p>
            <a:pPr algn="ctr"/>
            <a:endParaRPr lang="en-US" sz="1765">
              <a:latin typeface="Segoe UI"/>
            </a:endParaRPr>
          </a:p>
        </p:txBody>
      </p:sp>
      <p:sp>
        <p:nvSpPr>
          <p:cNvPr id="12" name="Rectangle 11">
            <a:extLst>
              <a:ext uri="{FF2B5EF4-FFF2-40B4-BE49-F238E27FC236}">
                <a16:creationId xmlns:a16="http://schemas.microsoft.com/office/drawing/2014/main" id="{0C040E89-E4CA-4171-90DC-ACB6421550B6}"/>
              </a:ext>
            </a:extLst>
          </p:cNvPr>
          <p:cNvSpPr/>
          <p:nvPr/>
        </p:nvSpPr>
        <p:spPr>
          <a:xfrm>
            <a:off x="1471631" y="1652557"/>
            <a:ext cx="5514792" cy="71727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784338">
              <a:spcBef>
                <a:spcPct val="0"/>
              </a:spcBef>
              <a:spcAft>
                <a:spcPct val="35000"/>
              </a:spcAft>
            </a:pPr>
            <a:r>
              <a:rPr lang="en-US" sz="1961">
                <a:solidFill>
                  <a:schemeClr val="tx1"/>
                </a:solidFill>
              </a:rPr>
              <a:t>Success by Design is our FastTrack framework for service delivery</a:t>
            </a:r>
          </a:p>
        </p:txBody>
      </p:sp>
      <p:sp>
        <p:nvSpPr>
          <p:cNvPr id="19" name="Oval 18">
            <a:extLst>
              <a:ext uri="{FF2B5EF4-FFF2-40B4-BE49-F238E27FC236}">
                <a16:creationId xmlns:a16="http://schemas.microsoft.com/office/drawing/2014/main" id="{86EEF643-7D0B-4E1A-B09B-36E89847D64E}"/>
              </a:ext>
            </a:extLst>
          </p:cNvPr>
          <p:cNvSpPr/>
          <p:nvPr/>
        </p:nvSpPr>
        <p:spPr>
          <a:xfrm>
            <a:off x="443399" y="1599046"/>
            <a:ext cx="780599" cy="780599"/>
          </a:xfrm>
          <a:prstGeom prst="ellipse">
            <a:avLst/>
          </a:prstGeom>
          <a:solidFill>
            <a:schemeClr val="tx2"/>
          </a:solidFill>
        </p:spPr>
        <p:txBody>
          <a:bodyPr wrap="square" lIns="0" tIns="0" rIns="0" bIns="0" rtlCol="0" anchor="ctr">
            <a:noAutofit/>
          </a:bodyPr>
          <a:lstStyle/>
          <a:p>
            <a:pPr algn="ctr"/>
            <a:endParaRPr lang="en-US" sz="1765">
              <a:latin typeface="Segoe UI"/>
            </a:endParaRPr>
          </a:p>
        </p:txBody>
      </p:sp>
      <p:grpSp>
        <p:nvGrpSpPr>
          <p:cNvPr id="3" name="Group 2">
            <a:extLst>
              <a:ext uri="{FF2B5EF4-FFF2-40B4-BE49-F238E27FC236}">
                <a16:creationId xmlns:a16="http://schemas.microsoft.com/office/drawing/2014/main" id="{65A60699-AF40-4C95-89AA-365867D09A84}"/>
              </a:ext>
            </a:extLst>
          </p:cNvPr>
          <p:cNvGrpSpPr/>
          <p:nvPr/>
        </p:nvGrpSpPr>
        <p:grpSpPr>
          <a:xfrm>
            <a:off x="7406640" y="1379091"/>
            <a:ext cx="4324922" cy="4292412"/>
            <a:chOff x="7451471" y="6064989"/>
            <a:chExt cx="4324922" cy="4292412"/>
          </a:xfrm>
        </p:grpSpPr>
        <p:sp>
          <p:nvSpPr>
            <p:cNvPr id="61" name="Freeform 5">
              <a:extLst>
                <a:ext uri="{FF2B5EF4-FFF2-40B4-BE49-F238E27FC236}">
                  <a16:creationId xmlns:a16="http://schemas.microsoft.com/office/drawing/2014/main" id="{8958E916-F0A4-476B-BF89-FFAACBECE388}"/>
                </a:ext>
              </a:extLst>
            </p:cNvPr>
            <p:cNvSpPr>
              <a:spLocks/>
            </p:cNvSpPr>
            <p:nvPr/>
          </p:nvSpPr>
          <p:spPr bwMode="auto">
            <a:xfrm>
              <a:off x="7451471" y="7182657"/>
              <a:ext cx="2114697" cy="3174744"/>
            </a:xfrm>
            <a:custGeom>
              <a:avLst/>
              <a:gdLst>
                <a:gd name="T0" fmla="*/ 165 w 330"/>
                <a:gd name="T1" fmla="*/ 166 h 496"/>
                <a:gd name="T2" fmla="*/ 187 w 330"/>
                <a:gd name="T3" fmla="*/ 83 h 496"/>
                <a:gd name="T4" fmla="*/ 44 w 330"/>
                <a:gd name="T5" fmla="*/ 0 h 496"/>
                <a:gd name="T6" fmla="*/ 0 w 330"/>
                <a:gd name="T7" fmla="*/ 166 h 496"/>
                <a:gd name="T8" fmla="*/ 330 w 330"/>
                <a:gd name="T9" fmla="*/ 496 h 496"/>
                <a:gd name="T10" fmla="*/ 330 w 330"/>
                <a:gd name="T11" fmla="*/ 331 h 496"/>
                <a:gd name="T12" fmla="*/ 165 w 330"/>
                <a:gd name="T13" fmla="*/ 166 h 496"/>
              </a:gdLst>
              <a:ahLst/>
              <a:cxnLst>
                <a:cxn ang="0">
                  <a:pos x="T0" y="T1"/>
                </a:cxn>
                <a:cxn ang="0">
                  <a:pos x="T2" y="T3"/>
                </a:cxn>
                <a:cxn ang="0">
                  <a:pos x="T4" y="T5"/>
                </a:cxn>
                <a:cxn ang="0">
                  <a:pos x="T6" y="T7"/>
                </a:cxn>
                <a:cxn ang="0">
                  <a:pos x="T8" y="T9"/>
                </a:cxn>
                <a:cxn ang="0">
                  <a:pos x="T10" y="T11"/>
                </a:cxn>
                <a:cxn ang="0">
                  <a:pos x="T12" y="T13"/>
                </a:cxn>
              </a:cxnLst>
              <a:rect l="0" t="0" r="r" b="b"/>
              <a:pathLst>
                <a:path w="330" h="496">
                  <a:moveTo>
                    <a:pt x="165" y="166"/>
                  </a:moveTo>
                  <a:cubicBezTo>
                    <a:pt x="165" y="135"/>
                    <a:pt x="173" y="107"/>
                    <a:pt x="187" y="83"/>
                  </a:cubicBezTo>
                  <a:cubicBezTo>
                    <a:pt x="44" y="0"/>
                    <a:pt x="44" y="0"/>
                    <a:pt x="44" y="0"/>
                  </a:cubicBezTo>
                  <a:cubicBezTo>
                    <a:pt x="16" y="49"/>
                    <a:pt x="0" y="105"/>
                    <a:pt x="0" y="166"/>
                  </a:cubicBezTo>
                  <a:cubicBezTo>
                    <a:pt x="0" y="348"/>
                    <a:pt x="148" y="496"/>
                    <a:pt x="330" y="496"/>
                  </a:cubicBezTo>
                  <a:cubicBezTo>
                    <a:pt x="330" y="331"/>
                    <a:pt x="330" y="331"/>
                    <a:pt x="330" y="331"/>
                  </a:cubicBezTo>
                  <a:cubicBezTo>
                    <a:pt x="239" y="331"/>
                    <a:pt x="165" y="257"/>
                    <a:pt x="165" y="166"/>
                  </a:cubicBezTo>
                  <a:close/>
                </a:path>
              </a:pathLst>
            </a:cu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6">
              <a:extLst>
                <a:ext uri="{FF2B5EF4-FFF2-40B4-BE49-F238E27FC236}">
                  <a16:creationId xmlns:a16="http://schemas.microsoft.com/office/drawing/2014/main" id="{3FA3E279-7720-455A-81CE-B4F00DB1DE49}"/>
                </a:ext>
              </a:extLst>
            </p:cNvPr>
            <p:cNvSpPr>
              <a:spLocks/>
            </p:cNvSpPr>
            <p:nvPr/>
          </p:nvSpPr>
          <p:spPr bwMode="auto">
            <a:xfrm>
              <a:off x="9656303" y="7182657"/>
              <a:ext cx="2120090" cy="3174744"/>
            </a:xfrm>
            <a:custGeom>
              <a:avLst/>
              <a:gdLst>
                <a:gd name="T0" fmla="*/ 144 w 331"/>
                <a:gd name="T1" fmla="*/ 83 h 496"/>
                <a:gd name="T2" fmla="*/ 166 w 331"/>
                <a:gd name="T3" fmla="*/ 166 h 496"/>
                <a:gd name="T4" fmla="*/ 0 w 331"/>
                <a:gd name="T5" fmla="*/ 331 h 496"/>
                <a:gd name="T6" fmla="*/ 0 w 331"/>
                <a:gd name="T7" fmla="*/ 496 h 496"/>
                <a:gd name="T8" fmla="*/ 331 w 331"/>
                <a:gd name="T9" fmla="*/ 166 h 496"/>
                <a:gd name="T10" fmla="*/ 287 w 331"/>
                <a:gd name="T11" fmla="*/ 0 h 496"/>
                <a:gd name="T12" fmla="*/ 144 w 331"/>
                <a:gd name="T13" fmla="*/ 83 h 496"/>
              </a:gdLst>
              <a:ahLst/>
              <a:cxnLst>
                <a:cxn ang="0">
                  <a:pos x="T0" y="T1"/>
                </a:cxn>
                <a:cxn ang="0">
                  <a:pos x="T2" y="T3"/>
                </a:cxn>
                <a:cxn ang="0">
                  <a:pos x="T4" y="T5"/>
                </a:cxn>
                <a:cxn ang="0">
                  <a:pos x="T6" y="T7"/>
                </a:cxn>
                <a:cxn ang="0">
                  <a:pos x="T8" y="T9"/>
                </a:cxn>
                <a:cxn ang="0">
                  <a:pos x="T10" y="T11"/>
                </a:cxn>
                <a:cxn ang="0">
                  <a:pos x="T12" y="T13"/>
                </a:cxn>
              </a:cxnLst>
              <a:rect l="0" t="0" r="r" b="b"/>
              <a:pathLst>
                <a:path w="331" h="496">
                  <a:moveTo>
                    <a:pt x="144" y="83"/>
                  </a:moveTo>
                  <a:cubicBezTo>
                    <a:pt x="158" y="107"/>
                    <a:pt x="166" y="135"/>
                    <a:pt x="166" y="166"/>
                  </a:cubicBezTo>
                  <a:cubicBezTo>
                    <a:pt x="166" y="257"/>
                    <a:pt x="92" y="331"/>
                    <a:pt x="0" y="331"/>
                  </a:cubicBezTo>
                  <a:cubicBezTo>
                    <a:pt x="0" y="496"/>
                    <a:pt x="0" y="496"/>
                    <a:pt x="0" y="496"/>
                  </a:cubicBezTo>
                  <a:cubicBezTo>
                    <a:pt x="183" y="496"/>
                    <a:pt x="331" y="348"/>
                    <a:pt x="331" y="166"/>
                  </a:cubicBezTo>
                  <a:cubicBezTo>
                    <a:pt x="331" y="105"/>
                    <a:pt x="315" y="49"/>
                    <a:pt x="287" y="0"/>
                  </a:cubicBezTo>
                  <a:lnTo>
                    <a:pt x="144" y="83"/>
                  </a:lnTo>
                  <a:close/>
                </a:path>
              </a:pathLst>
            </a:cu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64" name="Freeform 7">
              <a:extLst>
                <a:ext uri="{FF2B5EF4-FFF2-40B4-BE49-F238E27FC236}">
                  <a16:creationId xmlns:a16="http://schemas.microsoft.com/office/drawing/2014/main" id="{4A8373E1-7AF6-41AA-A8EB-CC0E25A87A26}"/>
                </a:ext>
              </a:extLst>
            </p:cNvPr>
            <p:cNvSpPr>
              <a:spLocks/>
            </p:cNvSpPr>
            <p:nvPr/>
          </p:nvSpPr>
          <p:spPr bwMode="auto">
            <a:xfrm>
              <a:off x="7779758" y="6064989"/>
              <a:ext cx="3668350" cy="1586022"/>
            </a:xfrm>
            <a:custGeom>
              <a:avLst/>
              <a:gdLst>
                <a:gd name="T0" fmla="*/ 286 w 573"/>
                <a:gd name="T1" fmla="*/ 165 h 248"/>
                <a:gd name="T2" fmla="*/ 430 w 573"/>
                <a:gd name="T3" fmla="*/ 248 h 248"/>
                <a:gd name="T4" fmla="*/ 573 w 573"/>
                <a:gd name="T5" fmla="*/ 165 h 248"/>
                <a:gd name="T6" fmla="*/ 286 w 573"/>
                <a:gd name="T7" fmla="*/ 0 h 248"/>
                <a:gd name="T8" fmla="*/ 0 w 573"/>
                <a:gd name="T9" fmla="*/ 165 h 248"/>
                <a:gd name="T10" fmla="*/ 143 w 573"/>
                <a:gd name="T11" fmla="*/ 248 h 248"/>
                <a:gd name="T12" fmla="*/ 286 w 573"/>
                <a:gd name="T13" fmla="*/ 165 h 248"/>
              </a:gdLst>
              <a:ahLst/>
              <a:cxnLst>
                <a:cxn ang="0">
                  <a:pos x="T0" y="T1"/>
                </a:cxn>
                <a:cxn ang="0">
                  <a:pos x="T2" y="T3"/>
                </a:cxn>
                <a:cxn ang="0">
                  <a:pos x="T4" y="T5"/>
                </a:cxn>
                <a:cxn ang="0">
                  <a:pos x="T6" y="T7"/>
                </a:cxn>
                <a:cxn ang="0">
                  <a:pos x="T8" y="T9"/>
                </a:cxn>
                <a:cxn ang="0">
                  <a:pos x="T10" y="T11"/>
                </a:cxn>
                <a:cxn ang="0">
                  <a:pos x="T12" y="T13"/>
                </a:cxn>
              </a:cxnLst>
              <a:rect l="0" t="0" r="r" b="b"/>
              <a:pathLst>
                <a:path w="573" h="248">
                  <a:moveTo>
                    <a:pt x="286" y="165"/>
                  </a:moveTo>
                  <a:cubicBezTo>
                    <a:pt x="348" y="165"/>
                    <a:pt x="401" y="198"/>
                    <a:pt x="430" y="248"/>
                  </a:cubicBezTo>
                  <a:cubicBezTo>
                    <a:pt x="573" y="165"/>
                    <a:pt x="573" y="165"/>
                    <a:pt x="573" y="165"/>
                  </a:cubicBezTo>
                  <a:cubicBezTo>
                    <a:pt x="515" y="67"/>
                    <a:pt x="409" y="0"/>
                    <a:pt x="286" y="0"/>
                  </a:cubicBezTo>
                  <a:cubicBezTo>
                    <a:pt x="164" y="0"/>
                    <a:pt x="57" y="67"/>
                    <a:pt x="0" y="165"/>
                  </a:cubicBezTo>
                  <a:cubicBezTo>
                    <a:pt x="143" y="248"/>
                    <a:pt x="143" y="248"/>
                    <a:pt x="143" y="248"/>
                  </a:cubicBezTo>
                  <a:cubicBezTo>
                    <a:pt x="171" y="198"/>
                    <a:pt x="225" y="165"/>
                    <a:pt x="286" y="165"/>
                  </a:cubicBezTo>
                  <a:close/>
                </a:path>
              </a:pathLst>
            </a:cu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a:extLst>
              <a:ext uri="{FF2B5EF4-FFF2-40B4-BE49-F238E27FC236}">
                <a16:creationId xmlns:a16="http://schemas.microsoft.com/office/drawing/2014/main" id="{34262F06-2160-47A5-896D-445702066946}"/>
              </a:ext>
            </a:extLst>
          </p:cNvPr>
          <p:cNvGrpSpPr/>
          <p:nvPr/>
        </p:nvGrpSpPr>
        <p:grpSpPr>
          <a:xfrm rot="19957037">
            <a:off x="10825741" y="2531620"/>
            <a:ext cx="335420" cy="334063"/>
            <a:chOff x="11181976" y="2925955"/>
            <a:chExt cx="335420" cy="334063"/>
          </a:xfrm>
        </p:grpSpPr>
        <p:sp>
          <p:nvSpPr>
            <p:cNvPr id="4" name="Oval 3">
              <a:extLst>
                <a:ext uri="{FF2B5EF4-FFF2-40B4-BE49-F238E27FC236}">
                  <a16:creationId xmlns:a16="http://schemas.microsoft.com/office/drawing/2014/main" id="{8A2898D3-D143-45BC-8911-CFCA84F2749B}"/>
                </a:ext>
              </a:extLst>
            </p:cNvPr>
            <p:cNvSpPr/>
            <p:nvPr/>
          </p:nvSpPr>
          <p:spPr bwMode="auto">
            <a:xfrm>
              <a:off x="11193780" y="2933700"/>
              <a:ext cx="312420" cy="312420"/>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3" name="Freeform 9">
              <a:extLst>
                <a:ext uri="{FF2B5EF4-FFF2-40B4-BE49-F238E27FC236}">
                  <a16:creationId xmlns:a16="http://schemas.microsoft.com/office/drawing/2014/main" id="{7FB5EA02-0569-4B17-A102-63C420934535}"/>
                </a:ext>
              </a:extLst>
            </p:cNvPr>
            <p:cNvSpPr>
              <a:spLocks noChangeAspect="1" noEditPoints="1"/>
            </p:cNvSpPr>
            <p:nvPr/>
          </p:nvSpPr>
          <p:spPr bwMode="auto">
            <a:xfrm rot="5400000">
              <a:off x="11182654" y="2925277"/>
              <a:ext cx="334063" cy="33542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grpSp>
        <p:nvGrpSpPr>
          <p:cNvPr id="67" name="Group 66">
            <a:extLst>
              <a:ext uri="{FF2B5EF4-FFF2-40B4-BE49-F238E27FC236}">
                <a16:creationId xmlns:a16="http://schemas.microsoft.com/office/drawing/2014/main" id="{294E6E6F-8115-4BAA-A37D-2342C7797B52}"/>
              </a:ext>
            </a:extLst>
          </p:cNvPr>
          <p:cNvGrpSpPr/>
          <p:nvPr/>
        </p:nvGrpSpPr>
        <p:grpSpPr>
          <a:xfrm rot="5400000">
            <a:off x="9393182" y="4981451"/>
            <a:ext cx="335420" cy="334063"/>
            <a:chOff x="11181976" y="2925955"/>
            <a:chExt cx="335420" cy="334063"/>
          </a:xfrm>
        </p:grpSpPr>
        <p:sp>
          <p:nvSpPr>
            <p:cNvPr id="68" name="Oval 67">
              <a:extLst>
                <a:ext uri="{FF2B5EF4-FFF2-40B4-BE49-F238E27FC236}">
                  <a16:creationId xmlns:a16="http://schemas.microsoft.com/office/drawing/2014/main" id="{FDF78BC7-6AF6-4C1A-B07C-3D7A13CE3BE1}"/>
                </a:ext>
              </a:extLst>
            </p:cNvPr>
            <p:cNvSpPr/>
            <p:nvPr/>
          </p:nvSpPr>
          <p:spPr bwMode="auto">
            <a:xfrm>
              <a:off x="11193780" y="2933700"/>
              <a:ext cx="312420" cy="312420"/>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9">
              <a:extLst>
                <a:ext uri="{FF2B5EF4-FFF2-40B4-BE49-F238E27FC236}">
                  <a16:creationId xmlns:a16="http://schemas.microsoft.com/office/drawing/2014/main" id="{ED526EE6-2DB8-49F8-9AC0-FCF85E6048A1}"/>
                </a:ext>
              </a:extLst>
            </p:cNvPr>
            <p:cNvSpPr>
              <a:spLocks noChangeAspect="1" noEditPoints="1"/>
            </p:cNvSpPr>
            <p:nvPr/>
          </p:nvSpPr>
          <p:spPr bwMode="auto">
            <a:xfrm rot="5400000">
              <a:off x="11182654" y="2925277"/>
              <a:ext cx="334063" cy="33542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9E331BFB-6D6B-4A72-8340-B9B745B6DEE9}"/>
              </a:ext>
            </a:extLst>
          </p:cNvPr>
          <p:cNvGrpSpPr/>
          <p:nvPr/>
        </p:nvGrpSpPr>
        <p:grpSpPr>
          <a:xfrm rot="12412206">
            <a:off x="8008882" y="2576071"/>
            <a:ext cx="335420" cy="334063"/>
            <a:chOff x="11181976" y="2925955"/>
            <a:chExt cx="335420" cy="334063"/>
          </a:xfrm>
        </p:grpSpPr>
        <p:sp>
          <p:nvSpPr>
            <p:cNvPr id="71" name="Oval 70">
              <a:extLst>
                <a:ext uri="{FF2B5EF4-FFF2-40B4-BE49-F238E27FC236}">
                  <a16:creationId xmlns:a16="http://schemas.microsoft.com/office/drawing/2014/main" id="{F4BFE7F4-B69B-4AE7-860E-CA9120103C3A}"/>
                </a:ext>
              </a:extLst>
            </p:cNvPr>
            <p:cNvSpPr/>
            <p:nvPr/>
          </p:nvSpPr>
          <p:spPr bwMode="auto">
            <a:xfrm>
              <a:off x="11193780" y="2933700"/>
              <a:ext cx="312420" cy="312420"/>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72" name="Freeform 9">
              <a:extLst>
                <a:ext uri="{FF2B5EF4-FFF2-40B4-BE49-F238E27FC236}">
                  <a16:creationId xmlns:a16="http://schemas.microsoft.com/office/drawing/2014/main" id="{C37AE835-8F65-404B-BD7F-FEAB6D178740}"/>
                </a:ext>
              </a:extLst>
            </p:cNvPr>
            <p:cNvSpPr>
              <a:spLocks noChangeAspect="1" noEditPoints="1"/>
            </p:cNvSpPr>
            <p:nvPr/>
          </p:nvSpPr>
          <p:spPr bwMode="auto">
            <a:xfrm rot="5400000">
              <a:off x="11182654" y="2925277"/>
              <a:ext cx="334063" cy="33542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3" tIns="143402" rIns="179253" bIns="143402" numCol="1" spcCol="0" rtlCol="0" fromWordArt="0" anchor="t" anchorCtr="0" forceAA="0" compatLnSpc="1">
              <a:prstTxWarp prst="textNoShape">
                <a:avLst/>
              </a:prstTxWarp>
              <a:noAutofit/>
            </a:bodyPr>
            <a:lstStyle/>
            <a:p>
              <a:pPr algn="ctr" defTabSz="913915"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911A84D5-D13C-4E37-8C45-0A2C78B54FF8}"/>
              </a:ext>
            </a:extLst>
          </p:cNvPr>
          <p:cNvGrpSpPr/>
          <p:nvPr/>
        </p:nvGrpSpPr>
        <p:grpSpPr>
          <a:xfrm>
            <a:off x="9266511" y="2218362"/>
            <a:ext cx="582827" cy="582825"/>
            <a:chOff x="9322520" y="8310813"/>
            <a:chExt cx="582827" cy="582825"/>
          </a:xfrm>
        </p:grpSpPr>
        <p:sp>
          <p:nvSpPr>
            <p:cNvPr id="100" name="Oval 99">
              <a:extLst>
                <a:ext uri="{FF2B5EF4-FFF2-40B4-BE49-F238E27FC236}">
                  <a16:creationId xmlns:a16="http://schemas.microsoft.com/office/drawing/2014/main" id="{DC845E3A-D25F-470B-A7AB-7A6D6BA35B22}"/>
                </a:ext>
              </a:extLst>
            </p:cNvPr>
            <p:cNvSpPr/>
            <p:nvPr/>
          </p:nvSpPr>
          <p:spPr>
            <a:xfrm>
              <a:off x="9322520" y="8310813"/>
              <a:ext cx="582827" cy="582825"/>
            </a:xfrm>
            <a:prstGeom prst="ellipse">
              <a:avLst/>
            </a:prstGeom>
            <a:solidFill>
              <a:schemeClr val="bg1"/>
            </a:solidFill>
            <a:ln w="6350">
              <a:solidFill>
                <a:schemeClr val="accent1"/>
              </a:solidFill>
            </a:ln>
          </p:spPr>
          <p:txBody>
            <a:bodyPr wrap="square" lIns="0" tIns="0" rIns="0" bIns="0" rtlCol="0" anchor="ctr">
              <a:noAutofit/>
            </a:bodyPr>
            <a:lstStyle/>
            <a:p>
              <a:pPr algn="ctr"/>
              <a:endParaRPr lang="en-US" sz="1765">
                <a:latin typeface="Segoe UI"/>
              </a:endParaRPr>
            </a:p>
          </p:txBody>
        </p:sp>
        <p:sp>
          <p:nvSpPr>
            <p:cNvPr id="101" name="send" title="Icon of a paper airplane">
              <a:extLst>
                <a:ext uri="{FF2B5EF4-FFF2-40B4-BE49-F238E27FC236}">
                  <a16:creationId xmlns:a16="http://schemas.microsoft.com/office/drawing/2014/main" id="{6D602A2F-7B58-42B6-A515-9D7452B0B02F}"/>
                </a:ext>
              </a:extLst>
            </p:cNvPr>
            <p:cNvSpPr>
              <a:spLocks noChangeAspect="1" noEditPoints="1"/>
            </p:cNvSpPr>
            <p:nvPr/>
          </p:nvSpPr>
          <p:spPr bwMode="auto">
            <a:xfrm rot="19573410">
              <a:off x="9427004" y="8477057"/>
              <a:ext cx="373858" cy="250336"/>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gradFill>
                  <a:gsLst>
                    <a:gs pos="0">
                      <a:srgbClr val="505050"/>
                    </a:gs>
                    <a:gs pos="100000">
                      <a:srgbClr val="505050"/>
                    </a:gs>
                  </a:gsLst>
                </a:gradFill>
              </a:endParaRPr>
            </a:p>
          </p:txBody>
        </p:sp>
      </p:grpSp>
      <p:sp>
        <p:nvSpPr>
          <p:cNvPr id="75" name="Oval 74">
            <a:extLst>
              <a:ext uri="{FF2B5EF4-FFF2-40B4-BE49-F238E27FC236}">
                <a16:creationId xmlns:a16="http://schemas.microsoft.com/office/drawing/2014/main" id="{E1AC9BB9-EEDE-4DA1-B1AE-61F87D31B4BF}"/>
              </a:ext>
            </a:extLst>
          </p:cNvPr>
          <p:cNvSpPr/>
          <p:nvPr/>
        </p:nvSpPr>
        <p:spPr>
          <a:xfrm>
            <a:off x="10170185" y="3664284"/>
            <a:ext cx="582827" cy="582825"/>
          </a:xfrm>
          <a:prstGeom prst="ellipse">
            <a:avLst/>
          </a:prstGeom>
          <a:solidFill>
            <a:schemeClr val="bg1"/>
          </a:solidFill>
          <a:ln w="6350">
            <a:solidFill>
              <a:schemeClr val="accent1"/>
            </a:solidFill>
          </a:ln>
        </p:spPr>
        <p:txBody>
          <a:bodyPr wrap="square" lIns="0" tIns="0" rIns="0" bIns="0" rtlCol="0" anchor="ctr">
            <a:noAutofit/>
          </a:bodyPr>
          <a:lstStyle/>
          <a:p>
            <a:pPr algn="ctr"/>
            <a:endParaRPr lang="en-US" sz="1765">
              <a:latin typeface="Segoe UI"/>
            </a:endParaRPr>
          </a:p>
        </p:txBody>
      </p:sp>
      <p:sp>
        <p:nvSpPr>
          <p:cNvPr id="85" name="Oval 84">
            <a:extLst>
              <a:ext uri="{FF2B5EF4-FFF2-40B4-BE49-F238E27FC236}">
                <a16:creationId xmlns:a16="http://schemas.microsoft.com/office/drawing/2014/main" id="{D33E0761-F102-47D8-8E08-F5D0927A9A56}"/>
              </a:ext>
            </a:extLst>
          </p:cNvPr>
          <p:cNvSpPr/>
          <p:nvPr/>
        </p:nvSpPr>
        <p:spPr>
          <a:xfrm>
            <a:off x="8352164" y="3664284"/>
            <a:ext cx="582827" cy="582825"/>
          </a:xfrm>
          <a:prstGeom prst="ellipse">
            <a:avLst/>
          </a:prstGeom>
          <a:solidFill>
            <a:schemeClr val="bg1"/>
          </a:solidFill>
          <a:ln w="6350">
            <a:solidFill>
              <a:schemeClr val="accent1"/>
            </a:solidFill>
          </a:ln>
        </p:spPr>
        <p:txBody>
          <a:bodyPr wrap="square" lIns="0" tIns="0" rIns="0" bIns="0" rtlCol="0" anchor="ctr">
            <a:noAutofit/>
          </a:bodyPr>
          <a:lstStyle/>
          <a:p>
            <a:pPr algn="ctr"/>
            <a:endParaRPr lang="en-US" sz="1765">
              <a:latin typeface="Segoe UI"/>
            </a:endParaRPr>
          </a:p>
        </p:txBody>
      </p:sp>
      <p:sp>
        <p:nvSpPr>
          <p:cNvPr id="87" name="Chart_E999" title="Icon of a line graph with an arrow at the end pointing up">
            <a:extLst>
              <a:ext uri="{FF2B5EF4-FFF2-40B4-BE49-F238E27FC236}">
                <a16:creationId xmlns:a16="http://schemas.microsoft.com/office/drawing/2014/main" id="{AD2CB0F0-7CB4-44A3-9CD8-37CFF6BFE636}"/>
              </a:ext>
            </a:extLst>
          </p:cNvPr>
          <p:cNvSpPr>
            <a:spLocks noChangeAspect="1" noEditPoints="1"/>
          </p:cNvSpPr>
          <p:nvPr/>
        </p:nvSpPr>
        <p:spPr bwMode="auto">
          <a:xfrm>
            <a:off x="10311957" y="3805949"/>
            <a:ext cx="299283" cy="299495"/>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sp>
        <p:nvSpPr>
          <p:cNvPr id="106" name="Financial_E7BB" title="Icon of a chart made of vertical lines with a line tracing the top of each, turning into an arrow pointing up">
            <a:extLst>
              <a:ext uri="{FF2B5EF4-FFF2-40B4-BE49-F238E27FC236}">
                <a16:creationId xmlns:a16="http://schemas.microsoft.com/office/drawing/2014/main" id="{AC7B08C0-309B-4E31-9522-AAE3B57E7109}"/>
              </a:ext>
            </a:extLst>
          </p:cNvPr>
          <p:cNvSpPr>
            <a:spLocks noChangeAspect="1" noEditPoints="1"/>
          </p:cNvSpPr>
          <p:nvPr/>
        </p:nvSpPr>
        <p:spPr bwMode="auto">
          <a:xfrm>
            <a:off x="8470755" y="3801534"/>
            <a:ext cx="345644" cy="308325"/>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flat">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sp>
        <p:nvSpPr>
          <p:cNvPr id="112" name="TextBox 111">
            <a:extLst>
              <a:ext uri="{FF2B5EF4-FFF2-40B4-BE49-F238E27FC236}">
                <a16:creationId xmlns:a16="http://schemas.microsoft.com/office/drawing/2014/main" id="{B5404789-7E08-4B5D-9800-A1057A86C8F6}"/>
              </a:ext>
            </a:extLst>
          </p:cNvPr>
          <p:cNvSpPr txBox="1"/>
          <p:nvPr/>
        </p:nvSpPr>
        <p:spPr>
          <a:xfrm>
            <a:off x="8345456" y="2059180"/>
            <a:ext cx="2606994" cy="1985742"/>
          </a:xfrm>
          <a:prstGeom prst="rect">
            <a:avLst/>
          </a:prstGeom>
          <a:noFill/>
        </p:spPr>
        <p:txBody>
          <a:bodyPr spcFirstLastPara="1" wrap="none" lIns="44813" tIns="44813" rIns="44813" bIns="44813" numCol="1" rtlCol="0">
            <a:prstTxWarp prst="textArchUp">
              <a:avLst/>
            </a:prstTxWarp>
            <a:spAutoFit/>
          </a:bodyPr>
          <a:lstStyle/>
          <a:p>
            <a:pPr algn="ctr" defTabSz="914180"/>
            <a:r>
              <a:rPr lang="en-US" sz="1961" spc="-29">
                <a:solidFill>
                  <a:schemeClr val="bg1"/>
                </a:solidFill>
              </a:rPr>
              <a:t>Faster</a:t>
            </a:r>
            <a:br>
              <a:rPr lang="en-US" sz="1961" spc="-29">
                <a:solidFill>
                  <a:schemeClr val="bg1"/>
                </a:solidFill>
              </a:rPr>
            </a:br>
            <a:r>
              <a:rPr lang="en-US" sz="1961" spc="-29">
                <a:solidFill>
                  <a:schemeClr val="bg1"/>
                </a:solidFill>
              </a:rPr>
              <a:t>Deployment</a:t>
            </a:r>
          </a:p>
        </p:txBody>
      </p:sp>
      <p:sp>
        <p:nvSpPr>
          <p:cNvPr id="113" name="TextBox 112">
            <a:extLst>
              <a:ext uri="{FF2B5EF4-FFF2-40B4-BE49-F238E27FC236}">
                <a16:creationId xmlns:a16="http://schemas.microsoft.com/office/drawing/2014/main" id="{889D21FB-8BCC-4741-9AFF-52D79A343816}"/>
              </a:ext>
            </a:extLst>
          </p:cNvPr>
          <p:cNvSpPr txBox="1"/>
          <p:nvPr/>
        </p:nvSpPr>
        <p:spPr>
          <a:xfrm rot="17965387">
            <a:off x="9655487" y="3644715"/>
            <a:ext cx="1856586" cy="754488"/>
          </a:xfrm>
          <a:prstGeom prst="rect">
            <a:avLst/>
          </a:prstGeom>
          <a:noFill/>
        </p:spPr>
        <p:txBody>
          <a:bodyPr spcFirstLastPara="1" wrap="none" lIns="44813" tIns="44813" rIns="44813" bIns="44813" numCol="1" rtlCol="0">
            <a:prstTxWarp prst="textArchDown">
              <a:avLst/>
            </a:prstTxWarp>
            <a:spAutoFit/>
          </a:bodyPr>
          <a:lstStyle/>
          <a:p>
            <a:pPr algn="ctr" defTabSz="914180"/>
            <a:r>
              <a:rPr lang="en-US" sz="1961" spc="-29">
                <a:solidFill>
                  <a:schemeClr val="bg1"/>
                </a:solidFill>
              </a:rPr>
              <a:t>Higher</a:t>
            </a:r>
            <a:br>
              <a:rPr lang="en-US" sz="1961" spc="-29">
                <a:solidFill>
                  <a:schemeClr val="bg1"/>
                </a:solidFill>
              </a:rPr>
            </a:br>
            <a:r>
              <a:rPr lang="en-US" sz="1961" spc="-29">
                <a:solidFill>
                  <a:schemeClr val="bg1"/>
                </a:solidFill>
              </a:rPr>
              <a:t>Adoption</a:t>
            </a:r>
          </a:p>
        </p:txBody>
      </p:sp>
      <p:sp>
        <p:nvSpPr>
          <p:cNvPr id="114" name="TextBox 113">
            <a:extLst>
              <a:ext uri="{FF2B5EF4-FFF2-40B4-BE49-F238E27FC236}">
                <a16:creationId xmlns:a16="http://schemas.microsoft.com/office/drawing/2014/main" id="{D185724B-90BE-4AEA-8B66-35F1D501CF07}"/>
              </a:ext>
            </a:extLst>
          </p:cNvPr>
          <p:cNvSpPr txBox="1"/>
          <p:nvPr/>
        </p:nvSpPr>
        <p:spPr>
          <a:xfrm rot="3474637">
            <a:off x="7739383" y="3674293"/>
            <a:ext cx="1701916" cy="829667"/>
          </a:xfrm>
          <a:prstGeom prst="rect">
            <a:avLst/>
          </a:prstGeom>
          <a:noFill/>
        </p:spPr>
        <p:txBody>
          <a:bodyPr spcFirstLastPara="1" wrap="none" lIns="44813" tIns="44813" rIns="44813" bIns="44813" numCol="1" rtlCol="0">
            <a:prstTxWarp prst="textArchDown">
              <a:avLst>
                <a:gd name="adj" fmla="val 473164"/>
              </a:avLst>
            </a:prstTxWarp>
            <a:spAutoFit/>
          </a:bodyPr>
          <a:lstStyle/>
          <a:p>
            <a:pPr algn="ctr" defTabSz="914180"/>
            <a:r>
              <a:rPr lang="en-US" sz="1961" spc="-29">
                <a:solidFill>
                  <a:schemeClr val="bg1"/>
                </a:solidFill>
              </a:rPr>
              <a:t>Maximized </a:t>
            </a:r>
            <a:br>
              <a:rPr lang="en-US" sz="1961" spc="-29">
                <a:solidFill>
                  <a:schemeClr val="bg1"/>
                </a:solidFill>
              </a:rPr>
            </a:br>
            <a:r>
              <a:rPr lang="en-US" sz="1961" spc="-29">
                <a:solidFill>
                  <a:schemeClr val="bg1"/>
                </a:solidFill>
              </a:rPr>
              <a:t>ROI</a:t>
            </a:r>
          </a:p>
        </p:txBody>
      </p:sp>
      <p:grpSp>
        <p:nvGrpSpPr>
          <p:cNvPr id="17" name="Group 16">
            <a:extLst>
              <a:ext uri="{FF2B5EF4-FFF2-40B4-BE49-F238E27FC236}">
                <a16:creationId xmlns:a16="http://schemas.microsoft.com/office/drawing/2014/main" id="{7CA9523E-2DB7-484E-8650-7348B904C503}"/>
              </a:ext>
            </a:extLst>
          </p:cNvPr>
          <p:cNvGrpSpPr/>
          <p:nvPr/>
        </p:nvGrpSpPr>
        <p:grpSpPr>
          <a:xfrm>
            <a:off x="559695" y="1796416"/>
            <a:ext cx="537684" cy="373606"/>
            <a:chOff x="-2966560" y="2206485"/>
            <a:chExt cx="1426628" cy="991288"/>
          </a:xfrm>
        </p:grpSpPr>
        <p:grpSp>
          <p:nvGrpSpPr>
            <p:cNvPr id="128" name="Group 127">
              <a:extLst>
                <a:ext uri="{FF2B5EF4-FFF2-40B4-BE49-F238E27FC236}">
                  <a16:creationId xmlns:a16="http://schemas.microsoft.com/office/drawing/2014/main" id="{6291253E-F40A-4B02-B9B4-B632A94B9CD6}"/>
                </a:ext>
              </a:extLst>
            </p:cNvPr>
            <p:cNvGrpSpPr/>
            <p:nvPr/>
          </p:nvGrpSpPr>
          <p:grpSpPr>
            <a:xfrm>
              <a:off x="-2966560" y="2538064"/>
              <a:ext cx="637277" cy="659709"/>
              <a:chOff x="5769769" y="3088481"/>
              <a:chExt cx="647700" cy="674370"/>
            </a:xfrm>
          </p:grpSpPr>
          <p:sp>
            <p:nvSpPr>
              <p:cNvPr id="129" name="Freeform: Shape 128">
                <a:extLst>
                  <a:ext uri="{FF2B5EF4-FFF2-40B4-BE49-F238E27FC236}">
                    <a16:creationId xmlns:a16="http://schemas.microsoft.com/office/drawing/2014/main" id="{F9EC5390-57A9-4D1F-8F14-754886EBDA43}"/>
                  </a:ext>
                </a:extLst>
              </p:cNvPr>
              <p:cNvSpPr/>
              <p:nvPr/>
            </p:nvSpPr>
            <p:spPr>
              <a:xfrm>
                <a:off x="5938361" y="3088481"/>
                <a:ext cx="314325" cy="314325"/>
              </a:xfrm>
              <a:custGeom>
                <a:avLst/>
                <a:gdLst>
                  <a:gd name="connsiteX0" fmla="*/ 308134 w 314325"/>
                  <a:gd name="connsiteY0" fmla="*/ 157639 h 314325"/>
                  <a:gd name="connsiteX1" fmla="*/ 157639 w 314325"/>
                  <a:gd name="connsiteY1" fmla="*/ 308134 h 314325"/>
                  <a:gd name="connsiteX2" fmla="*/ 7144 w 314325"/>
                  <a:gd name="connsiteY2" fmla="*/ 157639 h 314325"/>
                  <a:gd name="connsiteX3" fmla="*/ 157639 w 314325"/>
                  <a:gd name="connsiteY3" fmla="*/ 7144 h 314325"/>
                  <a:gd name="connsiteX4" fmla="*/ 308134 w 314325"/>
                  <a:gd name="connsiteY4" fmla="*/ 157639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325" h="314325">
                    <a:moveTo>
                      <a:pt x="308134" y="157639"/>
                    </a:moveTo>
                    <a:cubicBezTo>
                      <a:pt x="308134" y="240755"/>
                      <a:pt x="240755" y="308134"/>
                      <a:pt x="157639" y="308134"/>
                    </a:cubicBezTo>
                    <a:cubicBezTo>
                      <a:pt x="74523" y="308134"/>
                      <a:pt x="7144" y="240755"/>
                      <a:pt x="7144" y="157639"/>
                    </a:cubicBezTo>
                    <a:cubicBezTo>
                      <a:pt x="7144" y="74523"/>
                      <a:pt x="74523" y="7144"/>
                      <a:pt x="157639" y="7144"/>
                    </a:cubicBezTo>
                    <a:cubicBezTo>
                      <a:pt x="240755" y="7144"/>
                      <a:pt x="308134" y="74523"/>
                      <a:pt x="308134" y="157639"/>
                    </a:cubicBezTo>
                    <a:close/>
                  </a:path>
                </a:pathLst>
              </a:custGeom>
              <a:solidFill>
                <a:schemeClr val="bg1"/>
              </a:solidFill>
              <a:ln w="9525" cap="flat">
                <a:noFill/>
                <a:prstDash val="solid"/>
                <a:miter/>
              </a:ln>
            </p:spPr>
            <p:txBody>
              <a:bodyPr rtlCol="0" anchor="ctr"/>
              <a:lstStyle/>
              <a:p>
                <a:endParaRPr lang="en-IN"/>
              </a:p>
            </p:txBody>
          </p:sp>
          <p:sp>
            <p:nvSpPr>
              <p:cNvPr id="130" name="Freeform: Shape 129">
                <a:extLst>
                  <a:ext uri="{FF2B5EF4-FFF2-40B4-BE49-F238E27FC236}">
                    <a16:creationId xmlns:a16="http://schemas.microsoft.com/office/drawing/2014/main" id="{7F240053-51A9-4B5D-B7E4-BEDDDA226B26}"/>
                  </a:ext>
                </a:extLst>
              </p:cNvPr>
              <p:cNvSpPr/>
              <p:nvPr/>
            </p:nvSpPr>
            <p:spPr>
              <a:xfrm>
                <a:off x="5769769" y="3410426"/>
                <a:ext cx="647700" cy="352425"/>
              </a:xfrm>
              <a:custGeom>
                <a:avLst/>
                <a:gdLst>
                  <a:gd name="connsiteX0" fmla="*/ 436721 w 647700"/>
                  <a:gd name="connsiteY0" fmla="*/ 7144 h 352425"/>
                  <a:gd name="connsiteX1" fmla="*/ 215741 w 647700"/>
                  <a:gd name="connsiteY1" fmla="*/ 7144 h 352425"/>
                  <a:gd name="connsiteX2" fmla="*/ 7144 w 647700"/>
                  <a:gd name="connsiteY2" fmla="*/ 215741 h 352425"/>
                  <a:gd name="connsiteX3" fmla="*/ 7144 w 647700"/>
                  <a:gd name="connsiteY3" fmla="*/ 351949 h 352425"/>
                  <a:gd name="connsiteX4" fmla="*/ 644366 w 647700"/>
                  <a:gd name="connsiteY4" fmla="*/ 351949 h 352425"/>
                  <a:gd name="connsiteX5" fmla="*/ 644366 w 647700"/>
                  <a:gd name="connsiteY5" fmla="*/ 214789 h 352425"/>
                  <a:gd name="connsiteX6" fmla="*/ 436721 w 647700"/>
                  <a:gd name="connsiteY6" fmla="*/ 7144 h 352425"/>
                  <a:gd name="connsiteX7" fmla="*/ 326231 w 647700"/>
                  <a:gd name="connsiteY7" fmla="*/ 290989 h 352425"/>
                  <a:gd name="connsiteX8" fmla="*/ 302419 w 647700"/>
                  <a:gd name="connsiteY8" fmla="*/ 208121 h 352425"/>
                  <a:gd name="connsiteX9" fmla="*/ 310991 w 647700"/>
                  <a:gd name="connsiteY9" fmla="*/ 77629 h 352425"/>
                  <a:gd name="connsiteX10" fmla="*/ 341471 w 647700"/>
                  <a:gd name="connsiteY10" fmla="*/ 77629 h 352425"/>
                  <a:gd name="connsiteX11" fmla="*/ 350044 w 647700"/>
                  <a:gd name="connsiteY11" fmla="*/ 208121 h 352425"/>
                  <a:gd name="connsiteX12" fmla="*/ 326231 w 647700"/>
                  <a:gd name="connsiteY12" fmla="*/ 290989 h 352425"/>
                  <a:gd name="connsiteX13" fmla="*/ 341471 w 647700"/>
                  <a:gd name="connsiteY13" fmla="*/ 72866 h 352425"/>
                  <a:gd name="connsiteX14" fmla="*/ 341471 w 647700"/>
                  <a:gd name="connsiteY14" fmla="*/ 72866 h 352425"/>
                  <a:gd name="connsiteX15" fmla="*/ 311944 w 647700"/>
                  <a:gd name="connsiteY15" fmla="*/ 72866 h 352425"/>
                  <a:gd name="connsiteX16" fmla="*/ 290989 w 647700"/>
                  <a:gd name="connsiteY16" fmla="*/ 36671 h 352425"/>
                  <a:gd name="connsiteX17" fmla="*/ 363379 w 647700"/>
                  <a:gd name="connsiteY17" fmla="*/ 36671 h 352425"/>
                  <a:gd name="connsiteX18" fmla="*/ 341471 w 647700"/>
                  <a:gd name="connsiteY18" fmla="*/ 72866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7700" h="352425">
                    <a:moveTo>
                      <a:pt x="436721" y="7144"/>
                    </a:moveTo>
                    <a:lnTo>
                      <a:pt x="215741" y="7144"/>
                    </a:lnTo>
                    <a:cubicBezTo>
                      <a:pt x="101441" y="7144"/>
                      <a:pt x="7144" y="100489"/>
                      <a:pt x="7144" y="215741"/>
                    </a:cubicBezTo>
                    <a:lnTo>
                      <a:pt x="7144" y="351949"/>
                    </a:lnTo>
                    <a:lnTo>
                      <a:pt x="644366" y="351949"/>
                    </a:lnTo>
                    <a:lnTo>
                      <a:pt x="644366" y="214789"/>
                    </a:lnTo>
                    <a:cubicBezTo>
                      <a:pt x="645319" y="100489"/>
                      <a:pt x="551021" y="7144"/>
                      <a:pt x="436721" y="7144"/>
                    </a:cubicBezTo>
                    <a:close/>
                    <a:moveTo>
                      <a:pt x="326231" y="290989"/>
                    </a:moveTo>
                    <a:lnTo>
                      <a:pt x="302419" y="208121"/>
                    </a:lnTo>
                    <a:lnTo>
                      <a:pt x="310991" y="77629"/>
                    </a:lnTo>
                    <a:lnTo>
                      <a:pt x="341471" y="77629"/>
                    </a:lnTo>
                    <a:lnTo>
                      <a:pt x="350044" y="208121"/>
                    </a:lnTo>
                    <a:lnTo>
                      <a:pt x="326231" y="290989"/>
                    </a:lnTo>
                    <a:close/>
                    <a:moveTo>
                      <a:pt x="341471" y="72866"/>
                    </a:moveTo>
                    <a:lnTo>
                      <a:pt x="341471" y="72866"/>
                    </a:lnTo>
                    <a:lnTo>
                      <a:pt x="311944" y="72866"/>
                    </a:lnTo>
                    <a:lnTo>
                      <a:pt x="290989" y="36671"/>
                    </a:lnTo>
                    <a:lnTo>
                      <a:pt x="363379" y="36671"/>
                    </a:lnTo>
                    <a:lnTo>
                      <a:pt x="341471" y="72866"/>
                    </a:lnTo>
                    <a:close/>
                  </a:path>
                </a:pathLst>
              </a:custGeom>
              <a:solidFill>
                <a:srgbClr val="00E7CF"/>
              </a:solidFill>
              <a:ln w="9525" cap="flat">
                <a:noFill/>
                <a:prstDash val="solid"/>
                <a:miter/>
              </a:ln>
            </p:spPr>
            <p:txBody>
              <a:bodyPr rtlCol="0" anchor="ctr"/>
              <a:lstStyle/>
              <a:p>
                <a:endParaRPr lang="en-IN"/>
              </a:p>
            </p:txBody>
          </p:sp>
        </p:grpSp>
        <p:sp>
          <p:nvSpPr>
            <p:cNvPr id="137" name="Freeform: Shape 136">
              <a:extLst>
                <a:ext uri="{FF2B5EF4-FFF2-40B4-BE49-F238E27FC236}">
                  <a16:creationId xmlns:a16="http://schemas.microsoft.com/office/drawing/2014/main" id="{83B5B691-A172-46FF-B04B-08C63F01AC35}"/>
                </a:ext>
              </a:extLst>
            </p:cNvPr>
            <p:cNvSpPr/>
            <p:nvPr/>
          </p:nvSpPr>
          <p:spPr bwMode="auto">
            <a:xfrm>
              <a:off x="-2675312" y="2206485"/>
              <a:ext cx="1135380" cy="811499"/>
            </a:xfrm>
            <a:custGeom>
              <a:avLst/>
              <a:gdLst>
                <a:gd name="connsiteX0" fmla="*/ 0 w 1135380"/>
                <a:gd name="connsiteY0" fmla="*/ 0 h 811499"/>
                <a:gd name="connsiteX1" fmla="*/ 1135380 w 1135380"/>
                <a:gd name="connsiteY1" fmla="*/ 0 h 811499"/>
                <a:gd name="connsiteX2" fmla="*/ 1135380 w 1135380"/>
                <a:gd name="connsiteY2" fmla="*/ 811499 h 811499"/>
                <a:gd name="connsiteX3" fmla="*/ 407670 w 1135380"/>
                <a:gd name="connsiteY3" fmla="*/ 811499 h 811499"/>
                <a:gd name="connsiteX4" fmla="*/ 407670 w 1135380"/>
                <a:gd name="connsiteY4" fmla="*/ 751976 h 811499"/>
                <a:gd name="connsiteX5" fmla="*/ 1075857 w 1135380"/>
                <a:gd name="connsiteY5" fmla="*/ 751976 h 811499"/>
                <a:gd name="connsiteX6" fmla="*/ 1075857 w 1135380"/>
                <a:gd name="connsiteY6" fmla="*/ 59523 h 811499"/>
                <a:gd name="connsiteX7" fmla="*/ 59523 w 1135380"/>
                <a:gd name="connsiteY7" fmla="*/ 59523 h 811499"/>
                <a:gd name="connsiteX8" fmla="*/ 59523 w 1135380"/>
                <a:gd name="connsiteY8" fmla="*/ 278741 h 811499"/>
                <a:gd name="connsiteX9" fmla="*/ 0 w 1135380"/>
                <a:gd name="connsiteY9" fmla="*/ 278741 h 81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5380" h="811499">
                  <a:moveTo>
                    <a:pt x="0" y="0"/>
                  </a:moveTo>
                  <a:lnTo>
                    <a:pt x="1135380" y="0"/>
                  </a:lnTo>
                  <a:lnTo>
                    <a:pt x="1135380" y="811499"/>
                  </a:lnTo>
                  <a:lnTo>
                    <a:pt x="407670" y="811499"/>
                  </a:lnTo>
                  <a:lnTo>
                    <a:pt x="407670" y="751976"/>
                  </a:lnTo>
                  <a:lnTo>
                    <a:pt x="1075857" y="751976"/>
                  </a:lnTo>
                  <a:lnTo>
                    <a:pt x="1075857" y="59523"/>
                  </a:lnTo>
                  <a:lnTo>
                    <a:pt x="59523" y="59523"/>
                  </a:lnTo>
                  <a:lnTo>
                    <a:pt x="59523" y="278741"/>
                  </a:lnTo>
                  <a:lnTo>
                    <a:pt x="0" y="278741"/>
                  </a:lnTo>
                  <a:close/>
                </a:path>
              </a:pathLst>
            </a:custGeom>
            <a:solidFill>
              <a:schemeClr val="bg1"/>
            </a:solidFill>
            <a:ln w="9525" cap="flat">
              <a:noFill/>
              <a:prstDash val="solid"/>
              <a:miter/>
            </a:ln>
          </p:spPr>
          <p:txBody>
            <a:bodyPr rtlCol="0" anchor="ctr"/>
            <a:lstStyle/>
            <a:p>
              <a:endParaRPr lang="en-US" err="1">
                <a:solidFill>
                  <a:schemeClr val="tx1"/>
                </a:solidFill>
              </a:endParaRPr>
            </a:p>
          </p:txBody>
        </p:sp>
        <p:grpSp>
          <p:nvGrpSpPr>
            <p:cNvPr id="16" name="Group 15">
              <a:extLst>
                <a:ext uri="{FF2B5EF4-FFF2-40B4-BE49-F238E27FC236}">
                  <a16:creationId xmlns:a16="http://schemas.microsoft.com/office/drawing/2014/main" id="{4BF9EC1F-B8E5-4D6B-B19D-561669EB04D7}"/>
                </a:ext>
              </a:extLst>
            </p:cNvPr>
            <p:cNvGrpSpPr/>
            <p:nvPr/>
          </p:nvGrpSpPr>
          <p:grpSpPr>
            <a:xfrm>
              <a:off x="-2419350" y="2412839"/>
              <a:ext cx="717479" cy="336075"/>
              <a:chOff x="-2419350" y="2412839"/>
              <a:chExt cx="717479" cy="336075"/>
            </a:xfrm>
          </p:grpSpPr>
          <p:sp>
            <p:nvSpPr>
              <p:cNvPr id="10" name="Freeform: Shape 9">
                <a:extLst>
                  <a:ext uri="{FF2B5EF4-FFF2-40B4-BE49-F238E27FC236}">
                    <a16:creationId xmlns:a16="http://schemas.microsoft.com/office/drawing/2014/main" id="{54CD0802-B932-40FF-9D58-0058712AAD31}"/>
                  </a:ext>
                </a:extLst>
              </p:cNvPr>
              <p:cNvSpPr/>
              <p:nvPr/>
            </p:nvSpPr>
            <p:spPr bwMode="auto">
              <a:xfrm>
                <a:off x="-2419350" y="2465069"/>
                <a:ext cx="681990" cy="283845"/>
              </a:xfrm>
              <a:custGeom>
                <a:avLst/>
                <a:gdLst>
                  <a:gd name="connsiteX0" fmla="*/ 0 w 681990"/>
                  <a:gd name="connsiteY0" fmla="*/ 243840 h 304800"/>
                  <a:gd name="connsiteX1" fmla="*/ 266700 w 681990"/>
                  <a:gd name="connsiteY1" fmla="*/ 45720 h 304800"/>
                  <a:gd name="connsiteX2" fmla="*/ 358140 w 681990"/>
                  <a:gd name="connsiteY2" fmla="*/ 201930 h 304800"/>
                  <a:gd name="connsiteX3" fmla="*/ 647700 w 681990"/>
                  <a:gd name="connsiteY3" fmla="*/ 0 h 304800"/>
                  <a:gd name="connsiteX4" fmla="*/ 681990 w 681990"/>
                  <a:gd name="connsiteY4" fmla="*/ 38100 h 304800"/>
                  <a:gd name="connsiteX5" fmla="*/ 346710 w 681990"/>
                  <a:gd name="connsiteY5" fmla="*/ 262890 h 304800"/>
                  <a:gd name="connsiteX6" fmla="*/ 251460 w 681990"/>
                  <a:gd name="connsiteY6" fmla="*/ 106680 h 304800"/>
                  <a:gd name="connsiteX7" fmla="*/ 26670 w 681990"/>
                  <a:gd name="connsiteY7" fmla="*/ 304800 h 304800"/>
                  <a:gd name="connsiteX8" fmla="*/ 0 w 681990"/>
                  <a:gd name="connsiteY8" fmla="*/ 243840 h 304800"/>
                  <a:gd name="connsiteX0" fmla="*/ 0 w 681990"/>
                  <a:gd name="connsiteY0" fmla="*/ 243840 h 283845"/>
                  <a:gd name="connsiteX1" fmla="*/ 266700 w 681990"/>
                  <a:gd name="connsiteY1" fmla="*/ 45720 h 283845"/>
                  <a:gd name="connsiteX2" fmla="*/ 358140 w 681990"/>
                  <a:gd name="connsiteY2" fmla="*/ 201930 h 283845"/>
                  <a:gd name="connsiteX3" fmla="*/ 647700 w 681990"/>
                  <a:gd name="connsiteY3" fmla="*/ 0 h 283845"/>
                  <a:gd name="connsiteX4" fmla="*/ 681990 w 681990"/>
                  <a:gd name="connsiteY4" fmla="*/ 38100 h 283845"/>
                  <a:gd name="connsiteX5" fmla="*/ 346710 w 681990"/>
                  <a:gd name="connsiteY5" fmla="*/ 262890 h 283845"/>
                  <a:gd name="connsiteX6" fmla="*/ 251460 w 681990"/>
                  <a:gd name="connsiteY6" fmla="*/ 106680 h 283845"/>
                  <a:gd name="connsiteX7" fmla="*/ 20955 w 681990"/>
                  <a:gd name="connsiteY7" fmla="*/ 283845 h 283845"/>
                  <a:gd name="connsiteX8" fmla="*/ 0 w 681990"/>
                  <a:gd name="connsiteY8" fmla="*/ 243840 h 28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1990" h="283845">
                    <a:moveTo>
                      <a:pt x="0" y="243840"/>
                    </a:moveTo>
                    <a:lnTo>
                      <a:pt x="266700" y="45720"/>
                    </a:lnTo>
                    <a:lnTo>
                      <a:pt x="358140" y="201930"/>
                    </a:lnTo>
                    <a:lnTo>
                      <a:pt x="647700" y="0"/>
                    </a:lnTo>
                    <a:lnTo>
                      <a:pt x="681990" y="38100"/>
                    </a:lnTo>
                    <a:lnTo>
                      <a:pt x="346710" y="262890"/>
                    </a:lnTo>
                    <a:lnTo>
                      <a:pt x="251460" y="106680"/>
                    </a:lnTo>
                    <a:lnTo>
                      <a:pt x="20955" y="283845"/>
                    </a:lnTo>
                    <a:lnTo>
                      <a:pt x="0" y="243840"/>
                    </a:lnTo>
                    <a:close/>
                  </a:path>
                </a:pathLst>
              </a:custGeom>
              <a:solidFill>
                <a:srgbClr val="00E7CF"/>
              </a:solidFill>
              <a:ln w="9525" cap="flat">
                <a:noFill/>
                <a:prstDash val="solid"/>
                <a:miter/>
              </a:ln>
            </p:spPr>
            <p:txBody>
              <a:bodyPr rtlCol="0" anchor="ctr"/>
              <a:lstStyle/>
              <a:p>
                <a:endParaRPr lang="en-US" err="1">
                  <a:solidFill>
                    <a:schemeClr val="tx1"/>
                  </a:solidFill>
                </a:endParaRPr>
              </a:p>
            </p:txBody>
          </p:sp>
          <p:sp>
            <p:nvSpPr>
              <p:cNvPr id="11" name="Isosceles Triangle 10">
                <a:extLst>
                  <a:ext uri="{FF2B5EF4-FFF2-40B4-BE49-F238E27FC236}">
                    <a16:creationId xmlns:a16="http://schemas.microsoft.com/office/drawing/2014/main" id="{1B84A075-8044-47EC-A92F-1D4A209E393E}"/>
                  </a:ext>
                </a:extLst>
              </p:cNvPr>
              <p:cNvSpPr/>
              <p:nvPr/>
            </p:nvSpPr>
            <p:spPr bwMode="auto">
              <a:xfrm rot="3192519">
                <a:off x="-1804747" y="2430686"/>
                <a:ext cx="120724" cy="85029"/>
              </a:xfrm>
              <a:prstGeom prst="triangle">
                <a:avLst/>
              </a:prstGeom>
              <a:solidFill>
                <a:srgbClr val="00E7CF"/>
              </a:solidFill>
              <a:ln w="9525" cap="flat">
                <a:noFill/>
                <a:prstDash val="solid"/>
                <a:miter/>
              </a:ln>
            </p:spPr>
            <p:txBody>
              <a:bodyPr rtlCol="0" anchor="ctr"/>
              <a:lstStyle/>
              <a:p>
                <a:endParaRPr lang="en-US" err="1">
                  <a:solidFill>
                    <a:schemeClr val="tx1"/>
                  </a:solidFill>
                </a:endParaRPr>
              </a:p>
            </p:txBody>
          </p:sp>
        </p:grpSp>
      </p:grpSp>
      <p:grpSp>
        <p:nvGrpSpPr>
          <p:cNvPr id="138" name="Group 137">
            <a:extLst>
              <a:ext uri="{FF2B5EF4-FFF2-40B4-BE49-F238E27FC236}">
                <a16:creationId xmlns:a16="http://schemas.microsoft.com/office/drawing/2014/main" id="{8B3CE1C8-1EE3-4407-9407-502C4150EF09}"/>
              </a:ext>
            </a:extLst>
          </p:cNvPr>
          <p:cNvGrpSpPr/>
          <p:nvPr/>
        </p:nvGrpSpPr>
        <p:grpSpPr>
          <a:xfrm>
            <a:off x="623458" y="4825449"/>
            <a:ext cx="420482" cy="386394"/>
            <a:chOff x="3848315" y="2854269"/>
            <a:chExt cx="180212" cy="166560"/>
          </a:xfrm>
        </p:grpSpPr>
        <p:sp>
          <p:nvSpPr>
            <p:cNvPr id="139" name="Freeform: Shape 138">
              <a:extLst>
                <a:ext uri="{FF2B5EF4-FFF2-40B4-BE49-F238E27FC236}">
                  <a16:creationId xmlns:a16="http://schemas.microsoft.com/office/drawing/2014/main" id="{D344B84B-1C86-48BE-B4CF-00FF96A28A73}"/>
                </a:ext>
              </a:extLst>
            </p:cNvPr>
            <p:cNvSpPr/>
            <p:nvPr/>
          </p:nvSpPr>
          <p:spPr>
            <a:xfrm>
              <a:off x="3848315" y="2854269"/>
              <a:ext cx="121450" cy="166560"/>
            </a:xfrm>
            <a:custGeom>
              <a:avLst/>
              <a:gdLst>
                <a:gd name="connsiteX0" fmla="*/ 241548 w 333375"/>
                <a:gd name="connsiteY0" fmla="*/ 144730 h 457200"/>
                <a:gd name="connsiteX1" fmla="*/ 190110 w 333375"/>
                <a:gd name="connsiteY1" fmla="*/ 93296 h 457200"/>
                <a:gd name="connsiteX2" fmla="*/ 190110 w 333375"/>
                <a:gd name="connsiteY2" fmla="*/ 16715 h 457200"/>
                <a:gd name="connsiteX3" fmla="*/ 191819 w 333375"/>
                <a:gd name="connsiteY3" fmla="*/ 7144 h 457200"/>
                <a:gd name="connsiteX4" fmla="*/ 39495 w 333375"/>
                <a:gd name="connsiteY4" fmla="*/ 7144 h 457200"/>
                <a:gd name="connsiteX5" fmla="*/ 7144 w 333375"/>
                <a:gd name="connsiteY5" fmla="*/ 39486 h 457200"/>
                <a:gd name="connsiteX6" fmla="*/ 7144 w 333375"/>
                <a:gd name="connsiteY6" fmla="*/ 421258 h 457200"/>
                <a:gd name="connsiteX7" fmla="*/ 39495 w 333375"/>
                <a:gd name="connsiteY7" fmla="*/ 453605 h 457200"/>
                <a:gd name="connsiteX8" fmla="*/ 295340 w 333375"/>
                <a:gd name="connsiteY8" fmla="*/ 453605 h 457200"/>
                <a:gd name="connsiteX9" fmla="*/ 327682 w 333375"/>
                <a:gd name="connsiteY9" fmla="*/ 421258 h 457200"/>
                <a:gd name="connsiteX10" fmla="*/ 327682 w 333375"/>
                <a:gd name="connsiteY10" fmla="*/ 143010 h 457200"/>
                <a:gd name="connsiteX11" fmla="*/ 318130 w 333375"/>
                <a:gd name="connsiteY11" fmla="*/ 144730 h 457200"/>
                <a:gd name="connsiteX12" fmla="*/ 241548 w 333375"/>
                <a:gd name="connsiteY12" fmla="*/ 144730 h 457200"/>
                <a:gd name="connsiteX13" fmla="*/ 68545 w 333375"/>
                <a:gd name="connsiteY13" fmla="*/ 88325 h 457200"/>
                <a:gd name="connsiteX14" fmla="*/ 166399 w 333375"/>
                <a:gd name="connsiteY14" fmla="*/ 88325 h 457200"/>
                <a:gd name="connsiteX15" fmla="*/ 175924 w 333375"/>
                <a:gd name="connsiteY15" fmla="*/ 97850 h 457200"/>
                <a:gd name="connsiteX16" fmla="*/ 166399 w 333375"/>
                <a:gd name="connsiteY16" fmla="*/ 107375 h 457200"/>
                <a:gd name="connsiteX17" fmla="*/ 68545 w 333375"/>
                <a:gd name="connsiteY17" fmla="*/ 107375 h 457200"/>
                <a:gd name="connsiteX18" fmla="*/ 59020 w 333375"/>
                <a:gd name="connsiteY18" fmla="*/ 97850 h 457200"/>
                <a:gd name="connsiteX19" fmla="*/ 68545 w 333375"/>
                <a:gd name="connsiteY19" fmla="*/ 88325 h 457200"/>
                <a:gd name="connsiteX20" fmla="*/ 254422 w 333375"/>
                <a:gd name="connsiteY20" fmla="*/ 389809 h 457200"/>
                <a:gd name="connsiteX21" fmla="*/ 68545 w 333375"/>
                <a:gd name="connsiteY21" fmla="*/ 389809 h 457200"/>
                <a:gd name="connsiteX22" fmla="*/ 59020 w 333375"/>
                <a:gd name="connsiteY22" fmla="*/ 380284 h 457200"/>
                <a:gd name="connsiteX23" fmla="*/ 68545 w 333375"/>
                <a:gd name="connsiteY23" fmla="*/ 370759 h 457200"/>
                <a:gd name="connsiteX24" fmla="*/ 254422 w 333375"/>
                <a:gd name="connsiteY24" fmla="*/ 370759 h 457200"/>
                <a:gd name="connsiteX25" fmla="*/ 263947 w 333375"/>
                <a:gd name="connsiteY25" fmla="*/ 380284 h 457200"/>
                <a:gd name="connsiteX26" fmla="*/ 254422 w 333375"/>
                <a:gd name="connsiteY26" fmla="*/ 389809 h 457200"/>
                <a:gd name="connsiteX27" fmla="*/ 254422 w 333375"/>
                <a:gd name="connsiteY27" fmla="*/ 315451 h 457200"/>
                <a:gd name="connsiteX28" fmla="*/ 68545 w 333375"/>
                <a:gd name="connsiteY28" fmla="*/ 315451 h 457200"/>
                <a:gd name="connsiteX29" fmla="*/ 59020 w 333375"/>
                <a:gd name="connsiteY29" fmla="*/ 305926 h 457200"/>
                <a:gd name="connsiteX30" fmla="*/ 68545 w 333375"/>
                <a:gd name="connsiteY30" fmla="*/ 296401 h 457200"/>
                <a:gd name="connsiteX31" fmla="*/ 254422 w 333375"/>
                <a:gd name="connsiteY31" fmla="*/ 296401 h 457200"/>
                <a:gd name="connsiteX32" fmla="*/ 263947 w 333375"/>
                <a:gd name="connsiteY32" fmla="*/ 305926 h 457200"/>
                <a:gd name="connsiteX33" fmla="*/ 254422 w 333375"/>
                <a:gd name="connsiteY33" fmla="*/ 315451 h 457200"/>
                <a:gd name="connsiteX34" fmla="*/ 254422 w 333375"/>
                <a:gd name="connsiteY34" fmla="*/ 241097 h 457200"/>
                <a:gd name="connsiteX35" fmla="*/ 68545 w 333375"/>
                <a:gd name="connsiteY35" fmla="*/ 241097 h 457200"/>
                <a:gd name="connsiteX36" fmla="*/ 59020 w 333375"/>
                <a:gd name="connsiteY36" fmla="*/ 231572 h 457200"/>
                <a:gd name="connsiteX37" fmla="*/ 68545 w 333375"/>
                <a:gd name="connsiteY37" fmla="*/ 222047 h 457200"/>
                <a:gd name="connsiteX38" fmla="*/ 254422 w 333375"/>
                <a:gd name="connsiteY38" fmla="*/ 222047 h 457200"/>
                <a:gd name="connsiteX39" fmla="*/ 263947 w 333375"/>
                <a:gd name="connsiteY39" fmla="*/ 231572 h 457200"/>
                <a:gd name="connsiteX40" fmla="*/ 254422 w 333375"/>
                <a:gd name="connsiteY40" fmla="*/ 241097 h 457200"/>
                <a:gd name="connsiteX41" fmla="*/ 254422 w 333375"/>
                <a:gd name="connsiteY41" fmla="*/ 166744 h 457200"/>
                <a:gd name="connsiteX42" fmla="*/ 68545 w 333375"/>
                <a:gd name="connsiteY42" fmla="*/ 166744 h 457200"/>
                <a:gd name="connsiteX43" fmla="*/ 59020 w 333375"/>
                <a:gd name="connsiteY43" fmla="*/ 157219 h 457200"/>
                <a:gd name="connsiteX44" fmla="*/ 68545 w 333375"/>
                <a:gd name="connsiteY44" fmla="*/ 147694 h 457200"/>
                <a:gd name="connsiteX45" fmla="*/ 254422 w 333375"/>
                <a:gd name="connsiteY45" fmla="*/ 147694 h 457200"/>
                <a:gd name="connsiteX46" fmla="*/ 263947 w 333375"/>
                <a:gd name="connsiteY46" fmla="*/ 157219 h 457200"/>
                <a:gd name="connsiteX47" fmla="*/ 254422 w 333375"/>
                <a:gd name="connsiteY47" fmla="*/ 166744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33375" h="457200">
                  <a:moveTo>
                    <a:pt x="241548" y="144730"/>
                  </a:moveTo>
                  <a:cubicBezTo>
                    <a:pt x="213187" y="144730"/>
                    <a:pt x="190110" y="121658"/>
                    <a:pt x="190110" y="93296"/>
                  </a:cubicBezTo>
                  <a:lnTo>
                    <a:pt x="190110" y="16715"/>
                  </a:lnTo>
                  <a:cubicBezTo>
                    <a:pt x="190110" y="13380"/>
                    <a:pt x="190744" y="10169"/>
                    <a:pt x="191819" y="7144"/>
                  </a:cubicBezTo>
                  <a:lnTo>
                    <a:pt x="39495" y="7144"/>
                  </a:lnTo>
                  <a:cubicBezTo>
                    <a:pt x="21655" y="7144"/>
                    <a:pt x="7144" y="21655"/>
                    <a:pt x="7144" y="39486"/>
                  </a:cubicBezTo>
                  <a:lnTo>
                    <a:pt x="7144" y="421258"/>
                  </a:lnTo>
                  <a:cubicBezTo>
                    <a:pt x="7144" y="439094"/>
                    <a:pt x="21655" y="453605"/>
                    <a:pt x="39495" y="453605"/>
                  </a:cubicBezTo>
                  <a:lnTo>
                    <a:pt x="295340" y="453605"/>
                  </a:lnTo>
                  <a:cubicBezTo>
                    <a:pt x="313172" y="453605"/>
                    <a:pt x="327682" y="439094"/>
                    <a:pt x="327682" y="421258"/>
                  </a:cubicBezTo>
                  <a:lnTo>
                    <a:pt x="327682" y="143010"/>
                  </a:lnTo>
                  <a:cubicBezTo>
                    <a:pt x="324657" y="144094"/>
                    <a:pt x="321453" y="144730"/>
                    <a:pt x="318130" y="144730"/>
                  </a:cubicBezTo>
                  <a:lnTo>
                    <a:pt x="241548" y="144730"/>
                  </a:lnTo>
                  <a:close/>
                  <a:moveTo>
                    <a:pt x="68545" y="88325"/>
                  </a:moveTo>
                  <a:lnTo>
                    <a:pt x="166399" y="88325"/>
                  </a:lnTo>
                  <a:cubicBezTo>
                    <a:pt x="171664" y="88325"/>
                    <a:pt x="175924" y="92589"/>
                    <a:pt x="175924" y="97850"/>
                  </a:cubicBezTo>
                  <a:cubicBezTo>
                    <a:pt x="175924" y="103110"/>
                    <a:pt x="171664" y="107375"/>
                    <a:pt x="166399" y="107375"/>
                  </a:cubicBezTo>
                  <a:lnTo>
                    <a:pt x="68545" y="107375"/>
                  </a:lnTo>
                  <a:cubicBezTo>
                    <a:pt x="63280" y="107375"/>
                    <a:pt x="59020" y="103110"/>
                    <a:pt x="59020" y="97850"/>
                  </a:cubicBezTo>
                  <a:cubicBezTo>
                    <a:pt x="59020" y="92589"/>
                    <a:pt x="63280" y="88325"/>
                    <a:pt x="68545" y="88325"/>
                  </a:cubicBezTo>
                  <a:close/>
                  <a:moveTo>
                    <a:pt x="254422" y="389809"/>
                  </a:moveTo>
                  <a:lnTo>
                    <a:pt x="68545" y="389809"/>
                  </a:lnTo>
                  <a:cubicBezTo>
                    <a:pt x="63280" y="389809"/>
                    <a:pt x="59020" y="385544"/>
                    <a:pt x="59020" y="380284"/>
                  </a:cubicBezTo>
                  <a:cubicBezTo>
                    <a:pt x="59020" y="375024"/>
                    <a:pt x="63280" y="370759"/>
                    <a:pt x="68545" y="370759"/>
                  </a:cubicBezTo>
                  <a:lnTo>
                    <a:pt x="254422" y="370759"/>
                  </a:lnTo>
                  <a:cubicBezTo>
                    <a:pt x="259686" y="370759"/>
                    <a:pt x="263947" y="375024"/>
                    <a:pt x="263947" y="380284"/>
                  </a:cubicBezTo>
                  <a:cubicBezTo>
                    <a:pt x="263947" y="385544"/>
                    <a:pt x="259686" y="389809"/>
                    <a:pt x="254422" y="389809"/>
                  </a:cubicBezTo>
                  <a:close/>
                  <a:moveTo>
                    <a:pt x="254422" y="315451"/>
                  </a:moveTo>
                  <a:lnTo>
                    <a:pt x="68545" y="315451"/>
                  </a:lnTo>
                  <a:cubicBezTo>
                    <a:pt x="63280" y="315451"/>
                    <a:pt x="59020" y="311185"/>
                    <a:pt x="59020" y="305926"/>
                  </a:cubicBezTo>
                  <a:cubicBezTo>
                    <a:pt x="59020" y="300665"/>
                    <a:pt x="63280" y="296401"/>
                    <a:pt x="68545" y="296401"/>
                  </a:cubicBezTo>
                  <a:lnTo>
                    <a:pt x="254422" y="296401"/>
                  </a:lnTo>
                  <a:cubicBezTo>
                    <a:pt x="259686" y="296401"/>
                    <a:pt x="263947" y="300665"/>
                    <a:pt x="263947" y="305926"/>
                  </a:cubicBezTo>
                  <a:cubicBezTo>
                    <a:pt x="263947" y="311185"/>
                    <a:pt x="259686" y="315451"/>
                    <a:pt x="254422" y="315451"/>
                  </a:cubicBezTo>
                  <a:close/>
                  <a:moveTo>
                    <a:pt x="254422" y="241097"/>
                  </a:moveTo>
                  <a:lnTo>
                    <a:pt x="68545" y="241097"/>
                  </a:lnTo>
                  <a:cubicBezTo>
                    <a:pt x="63280" y="241097"/>
                    <a:pt x="59020" y="236832"/>
                    <a:pt x="59020" y="231572"/>
                  </a:cubicBezTo>
                  <a:cubicBezTo>
                    <a:pt x="59020" y="226312"/>
                    <a:pt x="63280" y="222047"/>
                    <a:pt x="68545" y="222047"/>
                  </a:cubicBezTo>
                  <a:lnTo>
                    <a:pt x="254422" y="222047"/>
                  </a:lnTo>
                  <a:cubicBezTo>
                    <a:pt x="259686" y="222047"/>
                    <a:pt x="263947" y="226312"/>
                    <a:pt x="263947" y="231572"/>
                  </a:cubicBezTo>
                  <a:cubicBezTo>
                    <a:pt x="263947" y="236832"/>
                    <a:pt x="259686" y="241097"/>
                    <a:pt x="254422" y="241097"/>
                  </a:cubicBezTo>
                  <a:close/>
                  <a:moveTo>
                    <a:pt x="254422" y="166744"/>
                  </a:moveTo>
                  <a:lnTo>
                    <a:pt x="68545" y="166744"/>
                  </a:lnTo>
                  <a:cubicBezTo>
                    <a:pt x="63280" y="166744"/>
                    <a:pt x="59020" y="162478"/>
                    <a:pt x="59020" y="157219"/>
                  </a:cubicBezTo>
                  <a:cubicBezTo>
                    <a:pt x="59020" y="151958"/>
                    <a:pt x="63280" y="147694"/>
                    <a:pt x="68545" y="147694"/>
                  </a:cubicBezTo>
                  <a:lnTo>
                    <a:pt x="254422" y="147694"/>
                  </a:lnTo>
                  <a:cubicBezTo>
                    <a:pt x="259686" y="147694"/>
                    <a:pt x="263947" y="151958"/>
                    <a:pt x="263947" y="157219"/>
                  </a:cubicBezTo>
                  <a:cubicBezTo>
                    <a:pt x="263947" y="162478"/>
                    <a:pt x="259686" y="166744"/>
                    <a:pt x="254422" y="166744"/>
                  </a:cubicBezTo>
                  <a:close/>
                </a:path>
              </a:pathLst>
            </a:custGeom>
            <a:solidFill>
              <a:schemeClr val="bg1"/>
            </a:solidFill>
            <a:ln w="9525" cap="flat">
              <a:noFill/>
              <a:prstDash val="solid"/>
              <a:miter/>
            </a:ln>
          </p:spPr>
          <p:txBody>
            <a:bodyPr rtlCol="0" anchor="ctr"/>
            <a:lstStyle/>
            <a:p>
              <a:endParaRPr lang="en-IN"/>
            </a:p>
          </p:txBody>
        </p:sp>
        <p:sp>
          <p:nvSpPr>
            <p:cNvPr id="140" name="Freeform: Shape 139">
              <a:extLst>
                <a:ext uri="{FF2B5EF4-FFF2-40B4-BE49-F238E27FC236}">
                  <a16:creationId xmlns:a16="http://schemas.microsoft.com/office/drawing/2014/main" id="{687441F1-26E8-4301-A143-819A6CB0DEE9}"/>
                </a:ext>
              </a:extLst>
            </p:cNvPr>
            <p:cNvSpPr/>
            <p:nvPr/>
          </p:nvSpPr>
          <p:spPr>
            <a:xfrm>
              <a:off x="3921911" y="2854272"/>
              <a:ext cx="45110" cy="45110"/>
            </a:xfrm>
            <a:custGeom>
              <a:avLst/>
              <a:gdLst>
                <a:gd name="connsiteX0" fmla="*/ 39529 w 123825"/>
                <a:gd name="connsiteY0" fmla="*/ 125674 h 123825"/>
                <a:gd name="connsiteX1" fmla="*/ 116110 w 123825"/>
                <a:gd name="connsiteY1" fmla="*/ 125674 h 123825"/>
                <a:gd name="connsiteX2" fmla="*/ 124968 w 123825"/>
                <a:gd name="connsiteY2" fmla="*/ 119768 h 123825"/>
                <a:gd name="connsiteX3" fmla="*/ 122873 w 123825"/>
                <a:gd name="connsiteY3" fmla="*/ 109386 h 123825"/>
                <a:gd name="connsiteX4" fmla="*/ 23432 w 123825"/>
                <a:gd name="connsiteY4" fmla="*/ 9945 h 123825"/>
                <a:gd name="connsiteX5" fmla="*/ 13049 w 123825"/>
                <a:gd name="connsiteY5" fmla="*/ 7849 h 123825"/>
                <a:gd name="connsiteX6" fmla="*/ 7144 w 123825"/>
                <a:gd name="connsiteY6" fmla="*/ 16708 h 123825"/>
                <a:gd name="connsiteX7" fmla="*/ 7144 w 123825"/>
                <a:gd name="connsiteY7" fmla="*/ 93289 h 123825"/>
                <a:gd name="connsiteX8" fmla="*/ 39529 w 123825"/>
                <a:gd name="connsiteY8" fmla="*/ 12567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23825">
                  <a:moveTo>
                    <a:pt x="39529" y="125674"/>
                  </a:moveTo>
                  <a:lnTo>
                    <a:pt x="116110" y="125674"/>
                  </a:lnTo>
                  <a:cubicBezTo>
                    <a:pt x="120015" y="125674"/>
                    <a:pt x="123444" y="123292"/>
                    <a:pt x="124968" y="119768"/>
                  </a:cubicBezTo>
                  <a:cubicBezTo>
                    <a:pt x="126397" y="116244"/>
                    <a:pt x="125635" y="112148"/>
                    <a:pt x="122873" y="109386"/>
                  </a:cubicBezTo>
                  <a:lnTo>
                    <a:pt x="23432" y="9945"/>
                  </a:lnTo>
                  <a:cubicBezTo>
                    <a:pt x="20669" y="7183"/>
                    <a:pt x="16573" y="6421"/>
                    <a:pt x="13049" y="7849"/>
                  </a:cubicBezTo>
                  <a:cubicBezTo>
                    <a:pt x="9430" y="9373"/>
                    <a:pt x="7144" y="12802"/>
                    <a:pt x="7144" y="16708"/>
                  </a:cubicBezTo>
                  <a:lnTo>
                    <a:pt x="7144" y="93289"/>
                  </a:lnTo>
                  <a:cubicBezTo>
                    <a:pt x="7144" y="111100"/>
                    <a:pt x="21622" y="125674"/>
                    <a:pt x="39529" y="125674"/>
                  </a:cubicBezTo>
                  <a:close/>
                </a:path>
              </a:pathLst>
            </a:custGeom>
            <a:solidFill>
              <a:schemeClr val="bg1"/>
            </a:solidFill>
            <a:ln w="9525" cap="flat">
              <a:noFill/>
              <a:prstDash val="solid"/>
              <a:miter/>
            </a:ln>
          </p:spPr>
          <p:txBody>
            <a:bodyPr rtlCol="0" anchor="ctr"/>
            <a:lstStyle/>
            <a:p>
              <a:endParaRPr lang="en-IN"/>
            </a:p>
          </p:txBody>
        </p:sp>
        <p:sp>
          <p:nvSpPr>
            <p:cNvPr id="141" name="Freeform: Shape 140">
              <a:extLst>
                <a:ext uri="{FF2B5EF4-FFF2-40B4-BE49-F238E27FC236}">
                  <a16:creationId xmlns:a16="http://schemas.microsoft.com/office/drawing/2014/main" id="{8A6F87F5-EC2F-48A4-8745-5F74CF37A33A}"/>
                </a:ext>
              </a:extLst>
            </p:cNvPr>
            <p:cNvSpPr/>
            <p:nvPr/>
          </p:nvSpPr>
          <p:spPr>
            <a:xfrm>
              <a:off x="3982792" y="2866188"/>
              <a:ext cx="34700" cy="27760"/>
            </a:xfrm>
            <a:custGeom>
              <a:avLst/>
              <a:gdLst>
                <a:gd name="connsiteX0" fmla="*/ 72962 w 95250"/>
                <a:gd name="connsiteY0" fmla="*/ 7144 h 76200"/>
                <a:gd name="connsiteX1" fmla="*/ 28670 w 95250"/>
                <a:gd name="connsiteY1" fmla="*/ 7144 h 76200"/>
                <a:gd name="connsiteX2" fmla="*/ 7144 w 95250"/>
                <a:gd name="connsiteY2" fmla="*/ 32385 h 76200"/>
                <a:gd name="connsiteX3" fmla="*/ 7144 w 95250"/>
                <a:gd name="connsiteY3" fmla="*/ 69913 h 76200"/>
                <a:gd name="connsiteX4" fmla="*/ 94583 w 95250"/>
                <a:gd name="connsiteY4" fmla="*/ 69913 h 76200"/>
                <a:gd name="connsiteX5" fmla="*/ 94583 w 95250"/>
                <a:gd name="connsiteY5" fmla="*/ 32385 h 76200"/>
                <a:gd name="connsiteX6" fmla="*/ 72962 w 95250"/>
                <a:gd name="connsiteY6" fmla="*/ 714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76200">
                  <a:moveTo>
                    <a:pt x="72962" y="7144"/>
                  </a:moveTo>
                  <a:lnTo>
                    <a:pt x="28670" y="7144"/>
                  </a:lnTo>
                  <a:cubicBezTo>
                    <a:pt x="16573" y="7144"/>
                    <a:pt x="7144" y="18288"/>
                    <a:pt x="7144" y="32385"/>
                  </a:cubicBezTo>
                  <a:lnTo>
                    <a:pt x="7144" y="69913"/>
                  </a:lnTo>
                  <a:lnTo>
                    <a:pt x="94583" y="69913"/>
                  </a:lnTo>
                  <a:lnTo>
                    <a:pt x="94583" y="32385"/>
                  </a:lnTo>
                  <a:cubicBezTo>
                    <a:pt x="94583" y="18288"/>
                    <a:pt x="85058" y="7144"/>
                    <a:pt x="72962" y="7144"/>
                  </a:cubicBezTo>
                  <a:close/>
                </a:path>
              </a:pathLst>
            </a:custGeom>
            <a:solidFill>
              <a:srgbClr val="00E7CF"/>
            </a:solidFill>
            <a:ln w="9525" cap="flat">
              <a:noFill/>
              <a:prstDash val="solid"/>
              <a:miter/>
            </a:ln>
          </p:spPr>
          <p:txBody>
            <a:bodyPr rtlCol="0" anchor="ctr"/>
            <a:lstStyle/>
            <a:p>
              <a:endParaRPr lang="en-IN"/>
            </a:p>
          </p:txBody>
        </p:sp>
        <p:sp>
          <p:nvSpPr>
            <p:cNvPr id="142" name="Freeform: Shape 141">
              <a:extLst>
                <a:ext uri="{FF2B5EF4-FFF2-40B4-BE49-F238E27FC236}">
                  <a16:creationId xmlns:a16="http://schemas.microsoft.com/office/drawing/2014/main" id="{BF3D1771-BD53-40ED-B384-7C24B85ED477}"/>
                </a:ext>
              </a:extLst>
            </p:cNvPr>
            <p:cNvSpPr/>
            <p:nvPr/>
          </p:nvSpPr>
          <p:spPr>
            <a:xfrm>
              <a:off x="3982792" y="2895995"/>
              <a:ext cx="34700" cy="117980"/>
            </a:xfrm>
            <a:custGeom>
              <a:avLst/>
              <a:gdLst>
                <a:gd name="connsiteX0" fmla="*/ 7144 w 95250"/>
                <a:gd name="connsiteY0" fmla="*/ 7144 h 323850"/>
                <a:gd name="connsiteX1" fmla="*/ 7144 w 95250"/>
                <a:gd name="connsiteY1" fmla="*/ 102584 h 323850"/>
                <a:gd name="connsiteX2" fmla="*/ 41815 w 95250"/>
                <a:gd name="connsiteY2" fmla="*/ 311277 h 323850"/>
                <a:gd name="connsiteX3" fmla="*/ 50864 w 95250"/>
                <a:gd name="connsiteY3" fmla="*/ 317659 h 323850"/>
                <a:gd name="connsiteX4" fmla="*/ 59817 w 95250"/>
                <a:gd name="connsiteY4" fmla="*/ 311277 h 323850"/>
                <a:gd name="connsiteX5" fmla="*/ 94583 w 95250"/>
                <a:gd name="connsiteY5" fmla="*/ 102584 h 323850"/>
                <a:gd name="connsiteX6" fmla="*/ 94583 w 95250"/>
                <a:gd name="connsiteY6" fmla="*/ 7144 h 323850"/>
                <a:gd name="connsiteX7" fmla="*/ 16669 w 95250"/>
                <a:gd name="connsiteY7" fmla="*/ 7144 h 323850"/>
                <a:gd name="connsiteX8" fmla="*/ 7144 w 95250"/>
                <a:gd name="connsiteY8" fmla="*/ 7144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50" h="323850">
                  <a:moveTo>
                    <a:pt x="7144" y="7144"/>
                  </a:moveTo>
                  <a:lnTo>
                    <a:pt x="7144" y="102584"/>
                  </a:lnTo>
                  <a:cubicBezTo>
                    <a:pt x="7144" y="175070"/>
                    <a:pt x="18859" y="245269"/>
                    <a:pt x="41815" y="311277"/>
                  </a:cubicBezTo>
                  <a:cubicBezTo>
                    <a:pt x="43148" y="315087"/>
                    <a:pt x="46768" y="317659"/>
                    <a:pt x="50864" y="317659"/>
                  </a:cubicBezTo>
                  <a:cubicBezTo>
                    <a:pt x="54864" y="317659"/>
                    <a:pt x="58483" y="315087"/>
                    <a:pt x="59817" y="311277"/>
                  </a:cubicBezTo>
                  <a:cubicBezTo>
                    <a:pt x="82868" y="245269"/>
                    <a:pt x="94583" y="175070"/>
                    <a:pt x="94583" y="102584"/>
                  </a:cubicBezTo>
                  <a:lnTo>
                    <a:pt x="94583" y="7144"/>
                  </a:lnTo>
                  <a:lnTo>
                    <a:pt x="16669" y="7144"/>
                  </a:lnTo>
                  <a:lnTo>
                    <a:pt x="7144" y="7144"/>
                  </a:lnTo>
                  <a:close/>
                </a:path>
              </a:pathLst>
            </a:custGeom>
            <a:solidFill>
              <a:srgbClr val="00E7CF"/>
            </a:solidFill>
            <a:ln w="9525" cap="flat">
              <a:noFill/>
              <a:prstDash val="solid"/>
              <a:miter/>
            </a:ln>
          </p:spPr>
          <p:txBody>
            <a:bodyPr rtlCol="0" anchor="ctr"/>
            <a:lstStyle/>
            <a:p>
              <a:endParaRPr lang="en-IN"/>
            </a:p>
          </p:txBody>
        </p:sp>
        <p:sp>
          <p:nvSpPr>
            <p:cNvPr id="143" name="Freeform: Shape 142">
              <a:extLst>
                <a:ext uri="{FF2B5EF4-FFF2-40B4-BE49-F238E27FC236}">
                  <a16:creationId xmlns:a16="http://schemas.microsoft.com/office/drawing/2014/main" id="{607BFB50-025B-4ED5-8D89-E93C57F026C0}"/>
                </a:ext>
              </a:extLst>
            </p:cNvPr>
            <p:cNvSpPr/>
            <p:nvPr/>
          </p:nvSpPr>
          <p:spPr>
            <a:xfrm>
              <a:off x="4014647" y="2889055"/>
              <a:ext cx="13880" cy="58990"/>
            </a:xfrm>
            <a:custGeom>
              <a:avLst/>
              <a:gdLst>
                <a:gd name="connsiteX0" fmla="*/ 30194 w 38100"/>
                <a:gd name="connsiteY0" fmla="*/ 9144 h 161925"/>
                <a:gd name="connsiteX1" fmla="*/ 24384 w 38100"/>
                <a:gd name="connsiteY1" fmla="*/ 7144 h 161925"/>
                <a:gd name="connsiteX2" fmla="*/ 7144 w 38100"/>
                <a:gd name="connsiteY2" fmla="*/ 7144 h 161925"/>
                <a:gd name="connsiteX3" fmla="*/ 7144 w 38100"/>
                <a:gd name="connsiteY3" fmla="*/ 26194 h 161925"/>
                <a:gd name="connsiteX4" fmla="*/ 14859 w 38100"/>
                <a:gd name="connsiteY4" fmla="*/ 26194 h 161925"/>
                <a:gd name="connsiteX5" fmla="*/ 14859 w 38100"/>
                <a:gd name="connsiteY5" fmla="*/ 149828 h 161925"/>
                <a:gd name="connsiteX6" fmla="*/ 24384 w 38100"/>
                <a:gd name="connsiteY6" fmla="*/ 159353 h 161925"/>
                <a:gd name="connsiteX7" fmla="*/ 33909 w 38100"/>
                <a:gd name="connsiteY7" fmla="*/ 149828 h 161925"/>
                <a:gd name="connsiteX8" fmla="*/ 33909 w 38100"/>
                <a:gd name="connsiteY8" fmla="*/ 16669 h 161925"/>
                <a:gd name="connsiteX9" fmla="*/ 30194 w 38100"/>
                <a:gd name="connsiteY9" fmla="*/ 9144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 h="161925">
                  <a:moveTo>
                    <a:pt x="30194" y="9144"/>
                  </a:moveTo>
                  <a:cubicBezTo>
                    <a:pt x="28575" y="7906"/>
                    <a:pt x="26575" y="7144"/>
                    <a:pt x="24384" y="7144"/>
                  </a:cubicBezTo>
                  <a:lnTo>
                    <a:pt x="7144" y="7144"/>
                  </a:lnTo>
                  <a:lnTo>
                    <a:pt x="7144" y="26194"/>
                  </a:lnTo>
                  <a:lnTo>
                    <a:pt x="14859" y="26194"/>
                  </a:lnTo>
                  <a:lnTo>
                    <a:pt x="14859" y="149828"/>
                  </a:lnTo>
                  <a:cubicBezTo>
                    <a:pt x="14859" y="155162"/>
                    <a:pt x="19145" y="159353"/>
                    <a:pt x="24384" y="159353"/>
                  </a:cubicBezTo>
                  <a:cubicBezTo>
                    <a:pt x="29623" y="159353"/>
                    <a:pt x="33909" y="155162"/>
                    <a:pt x="33909" y="149828"/>
                  </a:cubicBezTo>
                  <a:lnTo>
                    <a:pt x="33909" y="16669"/>
                  </a:lnTo>
                  <a:cubicBezTo>
                    <a:pt x="33909" y="13621"/>
                    <a:pt x="32480" y="10858"/>
                    <a:pt x="30194" y="9144"/>
                  </a:cubicBezTo>
                  <a:close/>
                </a:path>
              </a:pathLst>
            </a:custGeom>
            <a:solidFill>
              <a:srgbClr val="00E7CF"/>
            </a:solidFill>
            <a:ln w="9525" cap="flat">
              <a:noFill/>
              <a:prstDash val="solid"/>
              <a:miter/>
            </a:ln>
          </p:spPr>
          <p:txBody>
            <a:bodyPr rtlCol="0" anchor="ctr"/>
            <a:lstStyle/>
            <a:p>
              <a:endParaRPr lang="en-IN"/>
            </a:p>
          </p:txBody>
        </p:sp>
      </p:grpSp>
      <p:grpSp>
        <p:nvGrpSpPr>
          <p:cNvPr id="144" name="Group 143">
            <a:extLst>
              <a:ext uri="{FF2B5EF4-FFF2-40B4-BE49-F238E27FC236}">
                <a16:creationId xmlns:a16="http://schemas.microsoft.com/office/drawing/2014/main" id="{75E6C490-27C5-464E-B9AA-68C06DC5E379}"/>
              </a:ext>
            </a:extLst>
          </p:cNvPr>
          <p:cNvGrpSpPr/>
          <p:nvPr/>
        </p:nvGrpSpPr>
        <p:grpSpPr>
          <a:xfrm>
            <a:off x="634546" y="2802255"/>
            <a:ext cx="398304" cy="530522"/>
            <a:chOff x="2203659" y="2819574"/>
            <a:chExt cx="179394" cy="240325"/>
          </a:xfrm>
        </p:grpSpPr>
        <p:sp>
          <p:nvSpPr>
            <p:cNvPr id="145" name="Freeform: Shape 144">
              <a:extLst>
                <a:ext uri="{FF2B5EF4-FFF2-40B4-BE49-F238E27FC236}">
                  <a16:creationId xmlns:a16="http://schemas.microsoft.com/office/drawing/2014/main" id="{4148AD17-2C83-4C7B-8A22-FE43EC4A8D03}"/>
                </a:ext>
              </a:extLst>
            </p:cNvPr>
            <p:cNvSpPr/>
            <p:nvPr/>
          </p:nvSpPr>
          <p:spPr>
            <a:xfrm>
              <a:off x="2203659" y="2819574"/>
              <a:ext cx="178206" cy="240325"/>
            </a:xfrm>
            <a:custGeom>
              <a:avLst/>
              <a:gdLst>
                <a:gd name="connsiteX0" fmla="*/ 13688 w 199099"/>
                <a:gd name="connsiteY0" fmla="*/ 13688 h 278739"/>
                <a:gd name="connsiteX1" fmla="*/ 13688 w 199099"/>
                <a:gd name="connsiteY1" fmla="*/ 265881 h 278739"/>
                <a:gd name="connsiteX2" fmla="*/ 195532 w 199099"/>
                <a:gd name="connsiteY2" fmla="*/ 265881 h 278739"/>
                <a:gd name="connsiteX3" fmla="*/ 195532 w 199099"/>
                <a:gd name="connsiteY3" fmla="*/ 93328 h 278739"/>
                <a:gd name="connsiteX4" fmla="*/ 119875 w 199099"/>
                <a:gd name="connsiteY4" fmla="*/ 93328 h 278739"/>
                <a:gd name="connsiteX5" fmla="*/ 119875 w 199099"/>
                <a:gd name="connsiteY5" fmla="*/ 13688 h 278739"/>
                <a:gd name="connsiteX6" fmla="*/ 13688 w 199099"/>
                <a:gd name="connsiteY6" fmla="*/ 13688 h 278739"/>
                <a:gd name="connsiteX7" fmla="*/ 13688 w 199099"/>
                <a:gd name="connsiteY7" fmla="*/ 13688 h 278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99" h="278739">
                  <a:moveTo>
                    <a:pt x="13688" y="13688"/>
                  </a:moveTo>
                  <a:lnTo>
                    <a:pt x="13688" y="265881"/>
                  </a:lnTo>
                  <a:lnTo>
                    <a:pt x="195532" y="265881"/>
                  </a:lnTo>
                  <a:lnTo>
                    <a:pt x="195532" y="93328"/>
                  </a:lnTo>
                  <a:lnTo>
                    <a:pt x="119875" y="93328"/>
                  </a:lnTo>
                  <a:lnTo>
                    <a:pt x="119875" y="13688"/>
                  </a:lnTo>
                  <a:lnTo>
                    <a:pt x="13688" y="13688"/>
                  </a:lnTo>
                  <a:lnTo>
                    <a:pt x="13688" y="13688"/>
                  </a:lnTo>
                  <a:close/>
                </a:path>
              </a:pathLst>
            </a:custGeom>
            <a:solidFill>
              <a:schemeClr val="bg1"/>
            </a:solidFill>
            <a:ln w="13097" cap="flat">
              <a:noFill/>
              <a:prstDash val="solid"/>
              <a:miter/>
            </a:ln>
          </p:spPr>
          <p:txBody>
            <a:bodyPr rtlCol="0" anchor="ctr"/>
            <a:lstStyle/>
            <a:p>
              <a:endParaRPr lang="en-IN"/>
            </a:p>
          </p:txBody>
        </p:sp>
        <p:sp>
          <p:nvSpPr>
            <p:cNvPr id="146" name="Freeform: Shape 145">
              <a:extLst>
                <a:ext uri="{FF2B5EF4-FFF2-40B4-BE49-F238E27FC236}">
                  <a16:creationId xmlns:a16="http://schemas.microsoft.com/office/drawing/2014/main" id="{3CCCFCDC-9ED3-4409-9D85-9D5412C90E32}"/>
                </a:ext>
              </a:extLst>
            </p:cNvPr>
            <p:cNvSpPr/>
            <p:nvPr/>
          </p:nvSpPr>
          <p:spPr>
            <a:xfrm>
              <a:off x="2311771" y="2819574"/>
              <a:ext cx="71282" cy="68664"/>
            </a:xfrm>
            <a:custGeom>
              <a:avLst/>
              <a:gdLst>
                <a:gd name="connsiteX0" fmla="*/ 13688 w 79639"/>
                <a:gd name="connsiteY0" fmla="*/ 74745 h 79639"/>
                <a:gd name="connsiteX1" fmla="*/ 74745 w 79639"/>
                <a:gd name="connsiteY1" fmla="*/ 74745 h 79639"/>
                <a:gd name="connsiteX2" fmla="*/ 13688 w 79639"/>
                <a:gd name="connsiteY2" fmla="*/ 13688 h 79639"/>
                <a:gd name="connsiteX3" fmla="*/ 13688 w 79639"/>
                <a:gd name="connsiteY3" fmla="*/ 74745 h 79639"/>
                <a:gd name="connsiteX4" fmla="*/ 13688 w 79639"/>
                <a:gd name="connsiteY4" fmla="*/ 74745 h 79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39" h="79639">
                  <a:moveTo>
                    <a:pt x="13688" y="74745"/>
                  </a:moveTo>
                  <a:lnTo>
                    <a:pt x="74745" y="74745"/>
                  </a:lnTo>
                  <a:lnTo>
                    <a:pt x="13688" y="13688"/>
                  </a:lnTo>
                  <a:lnTo>
                    <a:pt x="13688" y="74745"/>
                  </a:lnTo>
                  <a:lnTo>
                    <a:pt x="13688" y="74745"/>
                  </a:lnTo>
                  <a:close/>
                </a:path>
              </a:pathLst>
            </a:custGeom>
            <a:solidFill>
              <a:schemeClr val="bg1"/>
            </a:solidFill>
            <a:ln w="13097" cap="flat">
              <a:noFill/>
              <a:prstDash val="solid"/>
              <a:miter/>
            </a:ln>
          </p:spPr>
          <p:txBody>
            <a:bodyPr rtlCol="0" anchor="ctr"/>
            <a:lstStyle/>
            <a:p>
              <a:endParaRPr lang="en-IN"/>
            </a:p>
          </p:txBody>
        </p:sp>
        <p:sp>
          <p:nvSpPr>
            <p:cNvPr id="147" name="Freeform: Shape 146">
              <a:extLst>
                <a:ext uri="{FF2B5EF4-FFF2-40B4-BE49-F238E27FC236}">
                  <a16:creationId xmlns:a16="http://schemas.microsoft.com/office/drawing/2014/main" id="{A6F6003B-5C76-44B4-B306-C9A9885F8EF7}"/>
                </a:ext>
              </a:extLst>
            </p:cNvPr>
            <p:cNvSpPr/>
            <p:nvPr/>
          </p:nvSpPr>
          <p:spPr>
            <a:xfrm>
              <a:off x="2273857" y="2904552"/>
              <a:ext cx="89561" cy="19191"/>
            </a:xfrm>
            <a:custGeom>
              <a:avLst/>
              <a:gdLst>
                <a:gd name="connsiteX0" fmla="*/ 4424 w 106186"/>
                <a:gd name="connsiteY0" fmla="*/ 4424 h 22754"/>
                <a:gd name="connsiteX1" fmla="*/ 105301 w 106186"/>
                <a:gd name="connsiteY1" fmla="*/ 4424 h 22754"/>
                <a:gd name="connsiteX2" fmla="*/ 105301 w 106186"/>
                <a:gd name="connsiteY2" fmla="*/ 21869 h 22754"/>
                <a:gd name="connsiteX3" fmla="*/ 4424 w 106186"/>
                <a:gd name="connsiteY3" fmla="*/ 21869 h 22754"/>
              </a:gdLst>
              <a:ahLst/>
              <a:cxnLst>
                <a:cxn ang="0">
                  <a:pos x="connsiteX0" y="connsiteY0"/>
                </a:cxn>
                <a:cxn ang="0">
                  <a:pos x="connsiteX1" y="connsiteY1"/>
                </a:cxn>
                <a:cxn ang="0">
                  <a:pos x="connsiteX2" y="connsiteY2"/>
                </a:cxn>
                <a:cxn ang="0">
                  <a:pos x="connsiteX3" y="connsiteY3"/>
                </a:cxn>
              </a:cxnLst>
              <a:rect l="l" t="t" r="r" b="b"/>
              <a:pathLst>
                <a:path w="106186" h="22754">
                  <a:moveTo>
                    <a:pt x="4424" y="4424"/>
                  </a:moveTo>
                  <a:lnTo>
                    <a:pt x="105301" y="4424"/>
                  </a:lnTo>
                  <a:lnTo>
                    <a:pt x="105301" y="21869"/>
                  </a:lnTo>
                  <a:lnTo>
                    <a:pt x="4424" y="21869"/>
                  </a:lnTo>
                  <a:close/>
                </a:path>
              </a:pathLst>
            </a:custGeom>
            <a:solidFill>
              <a:srgbClr val="00E7CF"/>
            </a:solidFill>
            <a:ln w="7408"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4A4A4023-ED49-4217-BFB9-514090B98547}"/>
                </a:ext>
              </a:extLst>
            </p:cNvPr>
            <p:cNvSpPr/>
            <p:nvPr/>
          </p:nvSpPr>
          <p:spPr>
            <a:xfrm>
              <a:off x="2273857" y="2939737"/>
              <a:ext cx="89561" cy="19191"/>
            </a:xfrm>
            <a:custGeom>
              <a:avLst/>
              <a:gdLst>
                <a:gd name="connsiteX0" fmla="*/ 4424 w 106186"/>
                <a:gd name="connsiteY0" fmla="*/ 4424 h 22754"/>
                <a:gd name="connsiteX1" fmla="*/ 105301 w 106186"/>
                <a:gd name="connsiteY1" fmla="*/ 4424 h 22754"/>
                <a:gd name="connsiteX2" fmla="*/ 105301 w 106186"/>
                <a:gd name="connsiteY2" fmla="*/ 21869 h 22754"/>
                <a:gd name="connsiteX3" fmla="*/ 4424 w 106186"/>
                <a:gd name="connsiteY3" fmla="*/ 21869 h 22754"/>
              </a:gdLst>
              <a:ahLst/>
              <a:cxnLst>
                <a:cxn ang="0">
                  <a:pos x="connsiteX0" y="connsiteY0"/>
                </a:cxn>
                <a:cxn ang="0">
                  <a:pos x="connsiteX1" y="connsiteY1"/>
                </a:cxn>
                <a:cxn ang="0">
                  <a:pos x="connsiteX2" y="connsiteY2"/>
                </a:cxn>
                <a:cxn ang="0">
                  <a:pos x="connsiteX3" y="connsiteY3"/>
                </a:cxn>
              </a:cxnLst>
              <a:rect l="l" t="t" r="r" b="b"/>
              <a:pathLst>
                <a:path w="106186" h="22754">
                  <a:moveTo>
                    <a:pt x="4424" y="4424"/>
                  </a:moveTo>
                  <a:lnTo>
                    <a:pt x="105301" y="4424"/>
                  </a:lnTo>
                  <a:lnTo>
                    <a:pt x="105301" y="21869"/>
                  </a:lnTo>
                  <a:lnTo>
                    <a:pt x="4424" y="21869"/>
                  </a:lnTo>
                  <a:close/>
                </a:path>
              </a:pathLst>
            </a:custGeom>
            <a:solidFill>
              <a:srgbClr val="00E7CF"/>
            </a:solidFill>
            <a:ln w="7408"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35784B0D-8A86-49D4-9734-4B2E3269094A}"/>
                </a:ext>
              </a:extLst>
            </p:cNvPr>
            <p:cNvSpPr/>
            <p:nvPr/>
          </p:nvSpPr>
          <p:spPr>
            <a:xfrm>
              <a:off x="2273857" y="2974282"/>
              <a:ext cx="89561" cy="19191"/>
            </a:xfrm>
            <a:custGeom>
              <a:avLst/>
              <a:gdLst>
                <a:gd name="connsiteX0" fmla="*/ 4424 w 106186"/>
                <a:gd name="connsiteY0" fmla="*/ 4424 h 22754"/>
                <a:gd name="connsiteX1" fmla="*/ 105301 w 106186"/>
                <a:gd name="connsiteY1" fmla="*/ 4424 h 22754"/>
                <a:gd name="connsiteX2" fmla="*/ 105301 w 106186"/>
                <a:gd name="connsiteY2" fmla="*/ 21869 h 22754"/>
                <a:gd name="connsiteX3" fmla="*/ 4424 w 106186"/>
                <a:gd name="connsiteY3" fmla="*/ 21869 h 22754"/>
              </a:gdLst>
              <a:ahLst/>
              <a:cxnLst>
                <a:cxn ang="0">
                  <a:pos x="connsiteX0" y="connsiteY0"/>
                </a:cxn>
                <a:cxn ang="0">
                  <a:pos x="connsiteX1" y="connsiteY1"/>
                </a:cxn>
                <a:cxn ang="0">
                  <a:pos x="connsiteX2" y="connsiteY2"/>
                </a:cxn>
                <a:cxn ang="0">
                  <a:pos x="connsiteX3" y="connsiteY3"/>
                </a:cxn>
              </a:cxnLst>
              <a:rect l="l" t="t" r="r" b="b"/>
              <a:pathLst>
                <a:path w="106186" h="22754">
                  <a:moveTo>
                    <a:pt x="4424" y="4424"/>
                  </a:moveTo>
                  <a:lnTo>
                    <a:pt x="105301" y="4424"/>
                  </a:lnTo>
                  <a:lnTo>
                    <a:pt x="105301" y="21869"/>
                  </a:lnTo>
                  <a:lnTo>
                    <a:pt x="4424" y="21869"/>
                  </a:lnTo>
                  <a:close/>
                </a:path>
              </a:pathLst>
            </a:custGeom>
            <a:solidFill>
              <a:srgbClr val="75757A"/>
            </a:solidFill>
            <a:ln w="7408"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80DD81A2-17B1-4E7D-A406-4CA00F955C5F}"/>
                </a:ext>
              </a:extLst>
            </p:cNvPr>
            <p:cNvSpPr/>
            <p:nvPr/>
          </p:nvSpPr>
          <p:spPr>
            <a:xfrm>
              <a:off x="2273857" y="3008827"/>
              <a:ext cx="89561" cy="19191"/>
            </a:xfrm>
            <a:custGeom>
              <a:avLst/>
              <a:gdLst>
                <a:gd name="connsiteX0" fmla="*/ 4424 w 106186"/>
                <a:gd name="connsiteY0" fmla="*/ 4424 h 22754"/>
                <a:gd name="connsiteX1" fmla="*/ 105301 w 106186"/>
                <a:gd name="connsiteY1" fmla="*/ 4424 h 22754"/>
                <a:gd name="connsiteX2" fmla="*/ 105301 w 106186"/>
                <a:gd name="connsiteY2" fmla="*/ 21869 h 22754"/>
                <a:gd name="connsiteX3" fmla="*/ 4424 w 106186"/>
                <a:gd name="connsiteY3" fmla="*/ 21869 h 22754"/>
              </a:gdLst>
              <a:ahLst/>
              <a:cxnLst>
                <a:cxn ang="0">
                  <a:pos x="connsiteX0" y="connsiteY0"/>
                </a:cxn>
                <a:cxn ang="0">
                  <a:pos x="connsiteX1" y="connsiteY1"/>
                </a:cxn>
                <a:cxn ang="0">
                  <a:pos x="connsiteX2" y="connsiteY2"/>
                </a:cxn>
                <a:cxn ang="0">
                  <a:pos x="connsiteX3" y="connsiteY3"/>
                </a:cxn>
              </a:cxnLst>
              <a:rect l="l" t="t" r="r" b="b"/>
              <a:pathLst>
                <a:path w="106186" h="22754">
                  <a:moveTo>
                    <a:pt x="4424" y="4424"/>
                  </a:moveTo>
                  <a:lnTo>
                    <a:pt x="105301" y="4424"/>
                  </a:lnTo>
                  <a:lnTo>
                    <a:pt x="105301" y="21869"/>
                  </a:lnTo>
                  <a:lnTo>
                    <a:pt x="4424" y="21869"/>
                  </a:lnTo>
                  <a:close/>
                </a:path>
              </a:pathLst>
            </a:custGeom>
            <a:solidFill>
              <a:srgbClr val="75757A"/>
            </a:solidFill>
            <a:ln w="7408"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5A4F3173-03CF-42BF-B672-876A09FDD555}"/>
                </a:ext>
              </a:extLst>
            </p:cNvPr>
            <p:cNvSpPr/>
            <p:nvPr/>
          </p:nvSpPr>
          <p:spPr>
            <a:xfrm>
              <a:off x="2221614" y="2898368"/>
              <a:ext cx="44780" cy="38383"/>
            </a:xfrm>
            <a:custGeom>
              <a:avLst/>
              <a:gdLst>
                <a:gd name="connsiteX0" fmla="*/ 22375 w 53093"/>
                <a:gd name="connsiteY0" fmla="*/ 39820 h 45508"/>
                <a:gd name="connsiteX1" fmla="*/ 5689 w 53093"/>
                <a:gd name="connsiteY1" fmla="*/ 19341 h 45508"/>
                <a:gd name="connsiteX2" fmla="*/ 14032 w 53093"/>
                <a:gd name="connsiteY2" fmla="*/ 12515 h 45508"/>
                <a:gd name="connsiteX3" fmla="*/ 23892 w 53093"/>
                <a:gd name="connsiteY3" fmla="*/ 23133 h 45508"/>
                <a:gd name="connsiteX4" fmla="*/ 43612 w 53093"/>
                <a:gd name="connsiteY4" fmla="*/ 5689 h 45508"/>
                <a:gd name="connsiteX5" fmla="*/ 51197 w 53093"/>
                <a:gd name="connsiteY5" fmla="*/ 14032 h 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093" h="45508">
                  <a:moveTo>
                    <a:pt x="22375" y="39820"/>
                  </a:moveTo>
                  <a:lnTo>
                    <a:pt x="5689" y="19341"/>
                  </a:lnTo>
                  <a:lnTo>
                    <a:pt x="14032" y="12515"/>
                  </a:lnTo>
                  <a:lnTo>
                    <a:pt x="23892" y="23133"/>
                  </a:lnTo>
                  <a:lnTo>
                    <a:pt x="43612" y="5689"/>
                  </a:lnTo>
                  <a:lnTo>
                    <a:pt x="51197" y="14032"/>
                  </a:lnTo>
                  <a:close/>
                </a:path>
              </a:pathLst>
            </a:custGeom>
            <a:solidFill>
              <a:srgbClr val="00E7CF"/>
            </a:solidFill>
            <a:ln w="9525"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6609ED8A-8249-48BE-8028-8D58B99093D3}"/>
                </a:ext>
              </a:extLst>
            </p:cNvPr>
            <p:cNvSpPr/>
            <p:nvPr/>
          </p:nvSpPr>
          <p:spPr>
            <a:xfrm>
              <a:off x="2221614" y="2932274"/>
              <a:ext cx="44780" cy="38383"/>
            </a:xfrm>
            <a:custGeom>
              <a:avLst/>
              <a:gdLst>
                <a:gd name="connsiteX0" fmla="*/ 22375 w 53093"/>
                <a:gd name="connsiteY0" fmla="*/ 39820 h 45508"/>
                <a:gd name="connsiteX1" fmla="*/ 5689 w 53093"/>
                <a:gd name="connsiteY1" fmla="*/ 20100 h 45508"/>
                <a:gd name="connsiteX2" fmla="*/ 14032 w 53093"/>
                <a:gd name="connsiteY2" fmla="*/ 12515 h 45508"/>
                <a:gd name="connsiteX3" fmla="*/ 23892 w 53093"/>
                <a:gd name="connsiteY3" fmla="*/ 23892 h 45508"/>
                <a:gd name="connsiteX4" fmla="*/ 43612 w 53093"/>
                <a:gd name="connsiteY4" fmla="*/ 5689 h 45508"/>
                <a:gd name="connsiteX5" fmla="*/ 51197 w 53093"/>
                <a:gd name="connsiteY5" fmla="*/ 14032 h 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093" h="45508">
                  <a:moveTo>
                    <a:pt x="22375" y="39820"/>
                  </a:moveTo>
                  <a:lnTo>
                    <a:pt x="5689" y="20100"/>
                  </a:lnTo>
                  <a:lnTo>
                    <a:pt x="14032" y="12515"/>
                  </a:lnTo>
                  <a:lnTo>
                    <a:pt x="23892" y="23892"/>
                  </a:lnTo>
                  <a:lnTo>
                    <a:pt x="43612" y="5689"/>
                  </a:lnTo>
                  <a:lnTo>
                    <a:pt x="51197" y="14032"/>
                  </a:lnTo>
                  <a:close/>
                </a:path>
              </a:pathLst>
            </a:custGeom>
            <a:solidFill>
              <a:srgbClr val="00E7CF"/>
            </a:solidFill>
            <a:ln w="9525"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A3665710-34CE-45DB-AC20-4E91210725C2}"/>
                </a:ext>
              </a:extLst>
            </p:cNvPr>
            <p:cNvSpPr/>
            <p:nvPr/>
          </p:nvSpPr>
          <p:spPr>
            <a:xfrm>
              <a:off x="2221614" y="2966819"/>
              <a:ext cx="44780" cy="38383"/>
            </a:xfrm>
            <a:custGeom>
              <a:avLst/>
              <a:gdLst>
                <a:gd name="connsiteX0" fmla="*/ 22375 w 53093"/>
                <a:gd name="connsiteY0" fmla="*/ 39820 h 45508"/>
                <a:gd name="connsiteX1" fmla="*/ 5689 w 53093"/>
                <a:gd name="connsiteY1" fmla="*/ 19341 h 45508"/>
                <a:gd name="connsiteX2" fmla="*/ 14032 w 53093"/>
                <a:gd name="connsiteY2" fmla="*/ 12515 h 45508"/>
                <a:gd name="connsiteX3" fmla="*/ 23892 w 53093"/>
                <a:gd name="connsiteY3" fmla="*/ 23133 h 45508"/>
                <a:gd name="connsiteX4" fmla="*/ 43612 w 53093"/>
                <a:gd name="connsiteY4" fmla="*/ 5689 h 45508"/>
                <a:gd name="connsiteX5" fmla="*/ 51197 w 53093"/>
                <a:gd name="connsiteY5" fmla="*/ 14032 h 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093" h="45508">
                  <a:moveTo>
                    <a:pt x="22375" y="39820"/>
                  </a:moveTo>
                  <a:lnTo>
                    <a:pt x="5689" y="19341"/>
                  </a:lnTo>
                  <a:lnTo>
                    <a:pt x="14032" y="12515"/>
                  </a:lnTo>
                  <a:lnTo>
                    <a:pt x="23892" y="23133"/>
                  </a:lnTo>
                  <a:lnTo>
                    <a:pt x="43612" y="5689"/>
                  </a:lnTo>
                  <a:lnTo>
                    <a:pt x="51197" y="14032"/>
                  </a:lnTo>
                  <a:close/>
                </a:path>
              </a:pathLst>
            </a:custGeom>
            <a:solidFill>
              <a:srgbClr val="75757A"/>
            </a:solidFill>
            <a:ln w="9525"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266F88A0-8827-421D-9C60-2DDA4DE35ECC}"/>
                </a:ext>
              </a:extLst>
            </p:cNvPr>
            <p:cNvSpPr/>
            <p:nvPr/>
          </p:nvSpPr>
          <p:spPr>
            <a:xfrm>
              <a:off x="2221614" y="3000724"/>
              <a:ext cx="44780" cy="38383"/>
            </a:xfrm>
            <a:custGeom>
              <a:avLst/>
              <a:gdLst>
                <a:gd name="connsiteX0" fmla="*/ 22375 w 53093"/>
                <a:gd name="connsiteY0" fmla="*/ 40578 h 45508"/>
                <a:gd name="connsiteX1" fmla="*/ 5689 w 53093"/>
                <a:gd name="connsiteY1" fmla="*/ 20100 h 45508"/>
                <a:gd name="connsiteX2" fmla="*/ 14032 w 53093"/>
                <a:gd name="connsiteY2" fmla="*/ 12515 h 45508"/>
                <a:gd name="connsiteX3" fmla="*/ 23892 w 53093"/>
                <a:gd name="connsiteY3" fmla="*/ 23892 h 45508"/>
                <a:gd name="connsiteX4" fmla="*/ 43612 w 53093"/>
                <a:gd name="connsiteY4" fmla="*/ 5689 h 45508"/>
                <a:gd name="connsiteX5" fmla="*/ 51197 w 53093"/>
                <a:gd name="connsiteY5" fmla="*/ 14032 h 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093" h="45508">
                  <a:moveTo>
                    <a:pt x="22375" y="40578"/>
                  </a:moveTo>
                  <a:lnTo>
                    <a:pt x="5689" y="20100"/>
                  </a:lnTo>
                  <a:lnTo>
                    <a:pt x="14032" y="12515"/>
                  </a:lnTo>
                  <a:lnTo>
                    <a:pt x="23892" y="23892"/>
                  </a:lnTo>
                  <a:lnTo>
                    <a:pt x="43612" y="5689"/>
                  </a:lnTo>
                  <a:lnTo>
                    <a:pt x="51197" y="14032"/>
                  </a:lnTo>
                  <a:close/>
                </a:path>
              </a:pathLst>
            </a:custGeom>
            <a:solidFill>
              <a:srgbClr val="75757A"/>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567493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sz="3600"/>
              <a:t>Business Intelligence and Analytics </a:t>
            </a:r>
            <a:r>
              <a:rPr lang="en-GB" sz="3600"/>
              <a:t>Workshop Agenda</a:t>
            </a:r>
          </a:p>
        </p:txBody>
      </p:sp>
      <p:sp>
        <p:nvSpPr>
          <p:cNvPr id="40" name="Rectangle 39">
            <a:extLst>
              <a:ext uri="{FF2B5EF4-FFF2-40B4-BE49-F238E27FC236}">
                <a16:creationId xmlns:a16="http://schemas.microsoft.com/office/drawing/2014/main" id="{8550DF09-0D7B-4F8E-8ACF-13567A221AF3}"/>
              </a:ext>
            </a:extLst>
          </p:cNvPr>
          <p:cNvSpPr/>
          <p:nvPr/>
        </p:nvSpPr>
        <p:spPr>
          <a:xfrm>
            <a:off x="1500053" y="1374543"/>
            <a:ext cx="4621220"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US" sz="2000">
                <a:ln w="3175">
                  <a:noFill/>
                </a:ln>
                <a:solidFill>
                  <a:srgbClr val="008272"/>
                </a:solidFill>
                <a:latin typeface="Segoe UI Semibold"/>
                <a:cs typeface="Segoe UI" pitchFamily="34" charset="0"/>
              </a:rPr>
              <a:t>Agenda</a:t>
            </a:r>
          </a:p>
        </p:txBody>
      </p:sp>
      <p:sp>
        <p:nvSpPr>
          <p:cNvPr id="41" name="Rectangle 40">
            <a:extLst>
              <a:ext uri="{FF2B5EF4-FFF2-40B4-BE49-F238E27FC236}">
                <a16:creationId xmlns:a16="http://schemas.microsoft.com/office/drawing/2014/main" id="{177907F9-2172-46A3-AEA0-8DD4122F217B}"/>
              </a:ext>
            </a:extLst>
          </p:cNvPr>
          <p:cNvSpPr/>
          <p:nvPr/>
        </p:nvSpPr>
        <p:spPr>
          <a:xfrm>
            <a:off x="6121273" y="1374543"/>
            <a:ext cx="5613527" cy="514055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defTabSz="932597"/>
            <a:r>
              <a:rPr lang="en-US" sz="1600">
                <a:solidFill>
                  <a:schemeClr val="tx1"/>
                </a:solidFill>
              </a:rPr>
              <a:t>SHORT DESCRIPTION</a:t>
            </a:r>
            <a:endParaRPr lang="en-US" sz="1600">
              <a:solidFill>
                <a:schemeClr val="tx1"/>
              </a:solidFill>
              <a:cs typeface="Segoe UI"/>
            </a:endParaRPr>
          </a:p>
        </p:txBody>
      </p:sp>
      <p:sp>
        <p:nvSpPr>
          <p:cNvPr id="42" name="Rectangle: Rounded Corners 14">
            <a:extLst>
              <a:ext uri="{FF2B5EF4-FFF2-40B4-BE49-F238E27FC236}">
                <a16:creationId xmlns:a16="http://schemas.microsoft.com/office/drawing/2014/main" id="{FCCFC8E7-228A-485F-B89E-E8B4B03CC681}"/>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5906ADDC-D360-4A0F-91FF-B494A9B96AC6}"/>
              </a:ext>
            </a:extLst>
          </p:cNvPr>
          <p:cNvCxnSpPr>
            <a:cxnSpLocks/>
          </p:cNvCxnSpPr>
          <p:nvPr/>
        </p:nvCxnSpPr>
        <p:spPr>
          <a:xfrm>
            <a:off x="1494318" y="1349375"/>
            <a:ext cx="0" cy="494513"/>
          </a:xfrm>
          <a:prstGeom prst="line">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a:extLst>
              <a:ext uri="{FF2B5EF4-FFF2-40B4-BE49-F238E27FC236}">
                <a16:creationId xmlns:a16="http://schemas.microsoft.com/office/drawing/2014/main" id="{4A8E8564-839D-4D78-B946-D71D10D7FB42}"/>
              </a:ext>
            </a:extLst>
          </p:cNvPr>
          <p:cNvCxnSpPr>
            <a:cxnSpLocks/>
          </p:cNvCxnSpPr>
          <p:nvPr/>
        </p:nvCxnSpPr>
        <p:spPr>
          <a:xfrm>
            <a:off x="1" y="1858175"/>
            <a:ext cx="6121272"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B913BBF-6FE9-4291-9E49-F6769461052B}"/>
              </a:ext>
            </a:extLst>
          </p:cNvPr>
          <p:cNvCxnSpPr>
            <a:cxnSpLocks/>
          </p:cNvCxnSpPr>
          <p:nvPr/>
        </p:nvCxnSpPr>
        <p:spPr>
          <a:xfrm flipV="1">
            <a:off x="3531476" y="2876881"/>
            <a:ext cx="2589797" cy="641999"/>
          </a:xfrm>
          <a:prstGeom prst="line">
            <a:avLst/>
          </a:prstGeom>
          <a:noFill/>
          <a:ln w="3175">
            <a:solidFill>
              <a:schemeClr val="bg1">
                <a:lumMod val="85000"/>
              </a:schemeClr>
            </a:solidFill>
            <a:prstDash val="dash"/>
          </a:ln>
        </p:spPr>
      </p:cxnSp>
      <p:cxnSp>
        <p:nvCxnSpPr>
          <p:cNvPr id="49" name="Straight Connector 48">
            <a:extLst>
              <a:ext uri="{FF2B5EF4-FFF2-40B4-BE49-F238E27FC236}">
                <a16:creationId xmlns:a16="http://schemas.microsoft.com/office/drawing/2014/main" id="{F03F52E1-9D12-4CD8-9AFB-DF3694F8E8DF}"/>
              </a:ext>
            </a:extLst>
          </p:cNvPr>
          <p:cNvCxnSpPr>
            <a:cxnSpLocks/>
          </p:cNvCxnSpPr>
          <p:nvPr/>
        </p:nvCxnSpPr>
        <p:spPr>
          <a:xfrm>
            <a:off x="487883" y="4297769"/>
            <a:ext cx="5664073" cy="0"/>
          </a:xfrm>
          <a:prstGeom prst="line">
            <a:avLst/>
          </a:prstGeom>
          <a:noFill/>
          <a:ln w="3175">
            <a:solidFill>
              <a:schemeClr val="bg1">
                <a:lumMod val="85000"/>
              </a:schemeClr>
            </a:solidFill>
            <a:prstDash val="dash"/>
          </a:ln>
        </p:spPr>
      </p:cxnSp>
      <p:cxnSp>
        <p:nvCxnSpPr>
          <p:cNvPr id="52" name="Straight Connector 51">
            <a:extLst>
              <a:ext uri="{FF2B5EF4-FFF2-40B4-BE49-F238E27FC236}">
                <a16:creationId xmlns:a16="http://schemas.microsoft.com/office/drawing/2014/main" id="{721FE680-81D2-484D-B86E-D8BCF74079FD}"/>
              </a:ext>
            </a:extLst>
          </p:cNvPr>
          <p:cNvCxnSpPr>
            <a:cxnSpLocks/>
          </p:cNvCxnSpPr>
          <p:nvPr/>
        </p:nvCxnSpPr>
        <p:spPr>
          <a:xfrm>
            <a:off x="485657" y="3679130"/>
            <a:ext cx="5664073" cy="0"/>
          </a:xfrm>
          <a:prstGeom prst="line">
            <a:avLst/>
          </a:prstGeom>
          <a:noFill/>
          <a:ln w="3175">
            <a:solidFill>
              <a:schemeClr val="bg1">
                <a:lumMod val="85000"/>
              </a:schemeClr>
            </a:solidFill>
            <a:prstDash val="dash"/>
          </a:ln>
        </p:spPr>
      </p:cxnSp>
      <p:cxnSp>
        <p:nvCxnSpPr>
          <p:cNvPr id="53" name="Straight Connector 52">
            <a:extLst>
              <a:ext uri="{FF2B5EF4-FFF2-40B4-BE49-F238E27FC236}">
                <a16:creationId xmlns:a16="http://schemas.microsoft.com/office/drawing/2014/main" id="{76FF7EC1-B2EB-4DC5-B055-C580BB6B5166}"/>
              </a:ext>
            </a:extLst>
          </p:cNvPr>
          <p:cNvCxnSpPr>
            <a:cxnSpLocks/>
          </p:cNvCxnSpPr>
          <p:nvPr/>
        </p:nvCxnSpPr>
        <p:spPr>
          <a:xfrm>
            <a:off x="457200" y="6486604"/>
            <a:ext cx="5664073" cy="0"/>
          </a:xfrm>
          <a:prstGeom prst="line">
            <a:avLst/>
          </a:prstGeom>
          <a:noFill/>
          <a:ln w="3175">
            <a:solidFill>
              <a:schemeClr val="bg1">
                <a:lumMod val="85000"/>
              </a:schemeClr>
            </a:solidFill>
            <a:prstDash val="dash"/>
          </a:ln>
        </p:spPr>
      </p:cxnSp>
      <p:grpSp>
        <p:nvGrpSpPr>
          <p:cNvPr id="54" name="Group 53">
            <a:extLst>
              <a:ext uri="{FF2B5EF4-FFF2-40B4-BE49-F238E27FC236}">
                <a16:creationId xmlns:a16="http://schemas.microsoft.com/office/drawing/2014/main" id="{E3151547-6629-4A30-85D7-9026BFEC7DB1}"/>
              </a:ext>
            </a:extLst>
          </p:cNvPr>
          <p:cNvGrpSpPr/>
          <p:nvPr/>
        </p:nvGrpSpPr>
        <p:grpSpPr>
          <a:xfrm>
            <a:off x="433235" y="2636246"/>
            <a:ext cx="5613527" cy="522386"/>
            <a:chOff x="506805" y="2284149"/>
            <a:chExt cx="5613527" cy="522386"/>
          </a:xfrm>
        </p:grpSpPr>
        <p:sp>
          <p:nvSpPr>
            <p:cNvPr id="55" name="Rectangle 54">
              <a:extLst>
                <a:ext uri="{FF2B5EF4-FFF2-40B4-BE49-F238E27FC236}">
                  <a16:creationId xmlns:a16="http://schemas.microsoft.com/office/drawing/2014/main" id="{D909AFD3-772D-428E-8735-D3CC0F3F9928}"/>
                </a:ext>
              </a:extLst>
            </p:cNvPr>
            <p:cNvSpPr/>
            <p:nvPr/>
          </p:nvSpPr>
          <p:spPr>
            <a:xfrm>
              <a:off x="506805" y="2284149"/>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US" sz="1600">
                  <a:solidFill>
                    <a:schemeClr val="tx1"/>
                  </a:solidFill>
                  <a:latin typeface="Segoe UI" panose="020B0502040204020203" pitchFamily="34" charset="0"/>
                  <a:cs typeface="Times New Roman" panose="02020603050405020304" pitchFamily="18" charset="0"/>
                </a:rPr>
                <a:t>BI &amp; Reporting Solution Strategy</a:t>
              </a:r>
            </a:p>
          </p:txBody>
        </p:sp>
        <p:grpSp>
          <p:nvGrpSpPr>
            <p:cNvPr id="56" name="Group 55">
              <a:extLst>
                <a:ext uri="{FF2B5EF4-FFF2-40B4-BE49-F238E27FC236}">
                  <a16:creationId xmlns:a16="http://schemas.microsoft.com/office/drawing/2014/main" id="{343C8747-F64E-4A18-A94A-9D3F8224370C}"/>
                </a:ext>
              </a:extLst>
            </p:cNvPr>
            <p:cNvGrpSpPr/>
            <p:nvPr/>
          </p:nvGrpSpPr>
          <p:grpSpPr>
            <a:xfrm>
              <a:off x="730757" y="2382286"/>
              <a:ext cx="326112" cy="326112"/>
              <a:chOff x="115497" y="2415364"/>
              <a:chExt cx="461744" cy="461744"/>
            </a:xfrm>
            <a:solidFill>
              <a:schemeClr val="tx2"/>
            </a:solidFill>
          </p:grpSpPr>
          <p:sp>
            <p:nvSpPr>
              <p:cNvPr id="57" name="Freeform: Shape 56">
                <a:extLst>
                  <a:ext uri="{FF2B5EF4-FFF2-40B4-BE49-F238E27FC236}">
                    <a16:creationId xmlns:a16="http://schemas.microsoft.com/office/drawing/2014/main" id="{9A72F8EA-291F-4570-84D1-25DC141B48F8}"/>
                  </a:ext>
                </a:extLst>
              </p:cNvPr>
              <p:cNvSpPr/>
              <p:nvPr/>
            </p:nvSpPr>
            <p:spPr bwMode="auto">
              <a:xfrm>
                <a:off x="115497" y="2415364"/>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8" name="Graphic 77">
                <a:extLst>
                  <a:ext uri="{FF2B5EF4-FFF2-40B4-BE49-F238E27FC236}">
                    <a16:creationId xmlns:a16="http://schemas.microsoft.com/office/drawing/2014/main" id="{9A88097F-834B-41ED-84A6-F60654AB22D0}"/>
                  </a:ext>
                </a:extLst>
              </p:cNvPr>
              <p:cNvSpPr/>
              <p:nvPr/>
            </p:nvSpPr>
            <p:spPr>
              <a:xfrm>
                <a:off x="230796" y="2554884"/>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grpSp>
        <p:nvGrpSpPr>
          <p:cNvPr id="84" name="Group 83">
            <a:extLst>
              <a:ext uri="{FF2B5EF4-FFF2-40B4-BE49-F238E27FC236}">
                <a16:creationId xmlns:a16="http://schemas.microsoft.com/office/drawing/2014/main" id="{95831B84-1C17-4A14-9584-93D7C92B4AC9}"/>
              </a:ext>
            </a:extLst>
          </p:cNvPr>
          <p:cNvGrpSpPr/>
          <p:nvPr/>
        </p:nvGrpSpPr>
        <p:grpSpPr>
          <a:xfrm>
            <a:off x="524488" y="3690150"/>
            <a:ext cx="5582733" cy="522386"/>
            <a:chOff x="506805" y="5407363"/>
            <a:chExt cx="5613527" cy="522386"/>
          </a:xfrm>
        </p:grpSpPr>
        <p:sp>
          <p:nvSpPr>
            <p:cNvPr id="85" name="Rectangle 84">
              <a:extLst>
                <a:ext uri="{FF2B5EF4-FFF2-40B4-BE49-F238E27FC236}">
                  <a16:creationId xmlns:a16="http://schemas.microsoft.com/office/drawing/2014/main" id="{8DE2201B-869B-46E1-9DBD-5685B60F9033}"/>
                </a:ext>
              </a:extLst>
            </p:cNvPr>
            <p:cNvSpPr/>
            <p:nvPr/>
          </p:nvSpPr>
          <p:spPr>
            <a:xfrm>
              <a:off x="506805" y="5407363"/>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Next Steps</a:t>
              </a:r>
            </a:p>
          </p:txBody>
        </p:sp>
        <p:grpSp>
          <p:nvGrpSpPr>
            <p:cNvPr id="86" name="Group 85">
              <a:extLst>
                <a:ext uri="{FF2B5EF4-FFF2-40B4-BE49-F238E27FC236}">
                  <a16:creationId xmlns:a16="http://schemas.microsoft.com/office/drawing/2014/main" id="{B2369DA4-97F3-49AA-A7F8-1E5CFA46923C}"/>
                </a:ext>
              </a:extLst>
            </p:cNvPr>
            <p:cNvGrpSpPr/>
            <p:nvPr/>
          </p:nvGrpSpPr>
          <p:grpSpPr>
            <a:xfrm>
              <a:off x="639446" y="5506667"/>
              <a:ext cx="326112" cy="326112"/>
              <a:chOff x="-13791" y="1866389"/>
              <a:chExt cx="461744" cy="461744"/>
            </a:xfrm>
            <a:solidFill>
              <a:schemeClr val="tx2"/>
            </a:solidFill>
          </p:grpSpPr>
          <p:sp>
            <p:nvSpPr>
              <p:cNvPr id="87" name="Freeform: Shape 86">
                <a:extLst>
                  <a:ext uri="{FF2B5EF4-FFF2-40B4-BE49-F238E27FC236}">
                    <a16:creationId xmlns:a16="http://schemas.microsoft.com/office/drawing/2014/main" id="{907CCD18-B526-49B1-B2D6-EC23F8940C59}"/>
                  </a:ext>
                </a:extLst>
              </p:cNvPr>
              <p:cNvSpPr/>
              <p:nvPr/>
            </p:nvSpPr>
            <p:spPr bwMode="auto">
              <a:xfrm>
                <a:off x="-13791" y="1866389"/>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8" name="Graphic 77">
                <a:extLst>
                  <a:ext uri="{FF2B5EF4-FFF2-40B4-BE49-F238E27FC236}">
                    <a16:creationId xmlns:a16="http://schemas.microsoft.com/office/drawing/2014/main" id="{B87852BE-A84F-43C9-9B66-6661E3928140}"/>
                  </a:ext>
                </a:extLst>
              </p:cNvPr>
              <p:cNvSpPr/>
              <p:nvPr/>
            </p:nvSpPr>
            <p:spPr>
              <a:xfrm>
                <a:off x="101508" y="2005910"/>
                <a:ext cx="243074" cy="175240"/>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grpSp>
      <p:sp>
        <p:nvSpPr>
          <p:cNvPr id="89" name="Rectangle 88">
            <a:extLst>
              <a:ext uri="{FF2B5EF4-FFF2-40B4-BE49-F238E27FC236}">
                <a16:creationId xmlns:a16="http://schemas.microsoft.com/office/drawing/2014/main" id="{429D1AB2-FD1C-420E-91FC-D03A20DC1B8B}"/>
              </a:ext>
            </a:extLst>
          </p:cNvPr>
          <p:cNvSpPr/>
          <p:nvPr/>
        </p:nvSpPr>
        <p:spPr>
          <a:xfrm>
            <a:off x="6121273" y="1211265"/>
            <a:ext cx="5613527" cy="1632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endParaRPr lang="en-US" sz="1600">
              <a:solidFill>
                <a:schemeClr val="bg1"/>
              </a:solidFill>
              <a:latin typeface="+mj-lt"/>
            </a:endParaRPr>
          </a:p>
        </p:txBody>
      </p:sp>
      <p:grpSp>
        <p:nvGrpSpPr>
          <p:cNvPr id="90" name="Group 89">
            <a:extLst>
              <a:ext uri="{FF2B5EF4-FFF2-40B4-BE49-F238E27FC236}">
                <a16:creationId xmlns:a16="http://schemas.microsoft.com/office/drawing/2014/main" id="{AB4443CD-27CA-4DBD-A805-FB445344CC74}"/>
              </a:ext>
            </a:extLst>
          </p:cNvPr>
          <p:cNvGrpSpPr/>
          <p:nvPr/>
        </p:nvGrpSpPr>
        <p:grpSpPr>
          <a:xfrm>
            <a:off x="6472302" y="2709126"/>
            <a:ext cx="809756" cy="809754"/>
            <a:chOff x="6456428" y="2720976"/>
            <a:chExt cx="917704" cy="917702"/>
          </a:xfrm>
        </p:grpSpPr>
        <p:sp>
          <p:nvSpPr>
            <p:cNvPr id="91" name="Freeform: Shape 90">
              <a:extLst>
                <a:ext uri="{FF2B5EF4-FFF2-40B4-BE49-F238E27FC236}">
                  <a16:creationId xmlns:a16="http://schemas.microsoft.com/office/drawing/2014/main" id="{F71E6BB8-F6B2-4A70-9C26-62A830F5F11B}"/>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2" name="Freeform 8">
              <a:extLst>
                <a:ext uri="{FF2B5EF4-FFF2-40B4-BE49-F238E27FC236}">
                  <a16:creationId xmlns:a16="http://schemas.microsoft.com/office/drawing/2014/main" id="{6BDC5852-9503-4CDA-B807-61D5949A5EBC}"/>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3" name="Group 92">
            <a:extLst>
              <a:ext uri="{FF2B5EF4-FFF2-40B4-BE49-F238E27FC236}">
                <a16:creationId xmlns:a16="http://schemas.microsoft.com/office/drawing/2014/main" id="{5E1CA762-CB82-429E-89B2-E95C130A0A2A}"/>
              </a:ext>
            </a:extLst>
          </p:cNvPr>
          <p:cNvGrpSpPr/>
          <p:nvPr/>
        </p:nvGrpSpPr>
        <p:grpSpPr>
          <a:xfrm>
            <a:off x="650727" y="1143371"/>
            <a:ext cx="497036" cy="499600"/>
            <a:chOff x="8121835" y="4193647"/>
            <a:chExt cx="847725" cy="852101"/>
          </a:xfrm>
        </p:grpSpPr>
        <p:sp>
          <p:nvSpPr>
            <p:cNvPr id="94" name="Freeform: Shape 93">
              <a:extLst>
                <a:ext uri="{FF2B5EF4-FFF2-40B4-BE49-F238E27FC236}">
                  <a16:creationId xmlns:a16="http://schemas.microsoft.com/office/drawing/2014/main" id="{435EF289-2D65-4F5A-B305-094781357BB8}"/>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C3AC4F5-B8CF-4C17-AF27-028BA4F2F78A}"/>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3D9CA0F8-45DB-4452-8902-D59EF6987F2E}"/>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AF59A492-AF15-447B-8B4C-3EF2C022C1CB}"/>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44DF95E9-EB5D-45DC-B6C5-FDB46D7810EC}"/>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2DAF00A7-42CB-487A-A46E-4043059D2A8C}"/>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accent4"/>
            </a:solidFill>
            <a:ln w="6572" cap="flat">
              <a:noFill/>
              <a:prstDash val="solid"/>
              <a:miter/>
            </a:ln>
          </p:spPr>
          <p:txBody>
            <a:bodyPr rtlCol="0" anchor="ctr"/>
            <a:lstStyle/>
            <a:p>
              <a:endParaRPr lang="en-US"/>
            </a:p>
          </p:txBody>
        </p:sp>
      </p:grpSp>
      <p:sp>
        <p:nvSpPr>
          <p:cNvPr id="103" name="Rectangle 6">
            <a:extLst>
              <a:ext uri="{FF2B5EF4-FFF2-40B4-BE49-F238E27FC236}">
                <a16:creationId xmlns:a16="http://schemas.microsoft.com/office/drawing/2014/main" id="{58D773B7-673F-419E-B0B9-B5B66FF34DCD}"/>
              </a:ext>
            </a:extLst>
          </p:cNvPr>
          <p:cNvSpPr/>
          <p:nvPr/>
        </p:nvSpPr>
        <p:spPr bwMode="auto">
          <a:xfrm>
            <a:off x="7365322" y="2672644"/>
            <a:ext cx="4369478" cy="1662154"/>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defTabSz="878102" fontAlgn="base">
              <a:spcBef>
                <a:spcPts val="600"/>
              </a:spcBef>
              <a:spcAft>
                <a:spcPts val="600"/>
              </a:spcAft>
              <a:defRPr/>
            </a:pPr>
            <a:r>
              <a:rPr lang="en-US" sz="1600" kern="0" dirty="0">
                <a:solidFill>
                  <a:schemeClr val="tx2"/>
                </a:solidFill>
                <a:latin typeface="+mj-lt"/>
                <a:ea typeface="Segoe UI" pitchFamily="34" charset="0"/>
                <a:cs typeface="Segoe UI"/>
              </a:rPr>
              <a:t>Format: </a:t>
            </a:r>
            <a:r>
              <a:rPr lang="en-US" sz="1600" kern="0" dirty="0">
                <a:highlight>
                  <a:srgbClr val="FFFF00"/>
                </a:highlight>
                <a:ea typeface="Segoe UI" pitchFamily="34" charset="0"/>
                <a:cs typeface="Segoe UI"/>
              </a:rPr>
              <a:t>90-minute</a:t>
            </a:r>
            <a:r>
              <a:rPr lang="en-US" sz="1600" kern="0" dirty="0">
                <a:ea typeface="Segoe UI" pitchFamily="34" charset="0"/>
                <a:cs typeface="Segoe UI"/>
              </a:rPr>
              <a:t> Microsoft Teams call</a:t>
            </a:r>
          </a:p>
          <a:p>
            <a:pPr defTabSz="878102" fontAlgn="base">
              <a:spcBef>
                <a:spcPts val="600"/>
              </a:spcBef>
              <a:spcAft>
                <a:spcPts val="600"/>
              </a:spcAft>
              <a:defRPr/>
            </a:pPr>
            <a:r>
              <a:rPr lang="en-US" sz="1600" kern="0" dirty="0">
                <a:solidFill>
                  <a:schemeClr val="tx2"/>
                </a:solidFill>
                <a:latin typeface="+mj-lt"/>
                <a:ea typeface="Segoe UI" pitchFamily="34" charset="0"/>
                <a:cs typeface="Segoe UI"/>
              </a:rPr>
              <a:t>Attendees: </a:t>
            </a:r>
            <a:r>
              <a:rPr lang="en-US" sz="1600" kern="0" dirty="0">
                <a:ea typeface="Segoe UI" pitchFamily="34" charset="0"/>
                <a:cs typeface="Segoe UI"/>
              </a:rPr>
              <a:t>Key stakeholders from the customer and partner teams. Solution architects, functional and technical leads</a:t>
            </a:r>
            <a:br>
              <a:rPr lang="en-US" sz="1600" kern="0" dirty="0">
                <a:ea typeface="Segoe UI" pitchFamily="34" charset="0"/>
                <a:cs typeface="Segoe UI" pitchFamily="34" charset="0"/>
              </a:rPr>
            </a:br>
            <a:r>
              <a:rPr lang="en-US" sz="1600" kern="0" dirty="0">
                <a:ea typeface="Segoe UI" pitchFamily="34" charset="0"/>
                <a:cs typeface="Segoe UI"/>
              </a:rPr>
              <a:t>are mandatory</a:t>
            </a:r>
          </a:p>
        </p:txBody>
      </p:sp>
      <p:sp>
        <p:nvSpPr>
          <p:cNvPr id="3" name="Rectangle 2">
            <a:extLst>
              <a:ext uri="{FF2B5EF4-FFF2-40B4-BE49-F238E27FC236}">
                <a16:creationId xmlns:a16="http://schemas.microsoft.com/office/drawing/2014/main" id="{0F12BD61-EA10-4C09-9375-FB0B3C783110}"/>
              </a:ext>
            </a:extLst>
          </p:cNvPr>
          <p:cNvSpPr/>
          <p:nvPr/>
        </p:nvSpPr>
        <p:spPr>
          <a:xfrm>
            <a:off x="405657" y="2114387"/>
            <a:ext cx="561352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tIns="45720" rIns="91440" bIns="45720" rtlCol="0" anchor="ctr"/>
          <a:lstStyle/>
          <a:p>
            <a:r>
              <a:rPr lang="en-GB" sz="1600">
                <a:solidFill>
                  <a:schemeClr val="tx1"/>
                </a:solidFill>
                <a:effectLst/>
                <a:latin typeface="Segoe UI" panose="020B0502040204020203" pitchFamily="34" charset="0"/>
                <a:ea typeface="Calibri" panose="020F0502020204030204" pitchFamily="34" charset="0"/>
                <a:cs typeface="Times New Roman" panose="02020603050405020304" pitchFamily="18" charset="0"/>
              </a:rPr>
              <a:t>BI</a:t>
            </a:r>
            <a:r>
              <a:rPr lang="en-GB" sz="1600">
                <a:solidFill>
                  <a:schemeClr val="tx1"/>
                </a:solidFill>
                <a:latin typeface="Segoe UI" panose="020B0502040204020203" pitchFamily="34" charset="0"/>
                <a:ea typeface="Calibri" panose="020F0502020204030204" pitchFamily="34" charset="0"/>
                <a:cs typeface="Times New Roman" panose="02020603050405020304" pitchFamily="18" charset="0"/>
              </a:rPr>
              <a:t> &amp; Reporting Planning</a:t>
            </a:r>
            <a:endParaRPr lang="en-US" sz="1800">
              <a:solidFill>
                <a:srgbClr val="505050"/>
              </a:solidFill>
              <a:effectLst/>
              <a:latin typeface="Segoe UI" panose="020B0502040204020203" pitchFamily="34" charset="0"/>
              <a:ea typeface="Calibri" panose="020F0502020204030204" pitchFamily="34" charset="0"/>
              <a:cs typeface="Times New Roman" panose="02020603050405020304" pitchFamily="18" charset="0"/>
            </a:endParaRPr>
          </a:p>
        </p:txBody>
      </p:sp>
      <p:sp>
        <p:nvSpPr>
          <p:cNvPr id="4" name="Freeform: Shape 3">
            <a:extLst>
              <a:ext uri="{FF2B5EF4-FFF2-40B4-BE49-F238E27FC236}">
                <a16:creationId xmlns:a16="http://schemas.microsoft.com/office/drawing/2014/main" id="{15B77A54-BD3C-48BB-9474-4EB5E96E0399}"/>
              </a:ext>
            </a:extLst>
          </p:cNvPr>
          <p:cNvSpPr/>
          <p:nvPr/>
        </p:nvSpPr>
        <p:spPr bwMode="auto">
          <a:xfrm>
            <a:off x="657187" y="3283839"/>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Graphic 77">
            <a:extLst>
              <a:ext uri="{FF2B5EF4-FFF2-40B4-BE49-F238E27FC236}">
                <a16:creationId xmlns:a16="http://schemas.microsoft.com/office/drawing/2014/main" id="{0968A3D9-EC32-4880-8818-1563455B5AEC}"/>
              </a:ext>
            </a:extLst>
          </p:cNvPr>
          <p:cNvSpPr/>
          <p:nvPr/>
        </p:nvSpPr>
        <p:spPr>
          <a:xfrm>
            <a:off x="706559" y="2282014"/>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a:p>
        </p:txBody>
      </p:sp>
      <p:sp>
        <p:nvSpPr>
          <p:cNvPr id="9" name="Rectangle 8">
            <a:extLst>
              <a:ext uri="{FF2B5EF4-FFF2-40B4-BE49-F238E27FC236}">
                <a16:creationId xmlns:a16="http://schemas.microsoft.com/office/drawing/2014/main" id="{EFF1701B-5923-44E1-A8E2-5E03BA797C14}"/>
              </a:ext>
            </a:extLst>
          </p:cNvPr>
          <p:cNvSpPr/>
          <p:nvPr/>
        </p:nvSpPr>
        <p:spPr>
          <a:xfrm>
            <a:off x="450505" y="3153650"/>
            <a:ext cx="5582732"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GB" sz="1600">
                <a:solidFill>
                  <a:schemeClr val="tx1"/>
                </a:solidFill>
              </a:rPr>
              <a:t> Q&amp;A</a:t>
            </a:r>
          </a:p>
        </p:txBody>
      </p:sp>
      <p:sp>
        <p:nvSpPr>
          <p:cNvPr id="7" name="Graphic 77">
            <a:extLst>
              <a:ext uri="{FF2B5EF4-FFF2-40B4-BE49-F238E27FC236}">
                <a16:creationId xmlns:a16="http://schemas.microsoft.com/office/drawing/2014/main" id="{DC1DD928-2EA9-40CC-9A49-EF5953DE0677}"/>
              </a:ext>
            </a:extLst>
          </p:cNvPr>
          <p:cNvSpPr/>
          <p:nvPr/>
        </p:nvSpPr>
        <p:spPr>
          <a:xfrm>
            <a:off x="725568" y="339922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549E04E0-5130-48DD-8760-E8A3A521274D}"/>
              </a:ext>
            </a:extLst>
          </p:cNvPr>
          <p:cNvSpPr/>
          <p:nvPr/>
        </p:nvSpPr>
        <p:spPr bwMode="auto">
          <a:xfrm>
            <a:off x="622042" y="2163084"/>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1197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B7DD339-5C08-46FC-8731-430C31DC143F}"/>
              </a:ext>
            </a:extLst>
          </p:cNvPr>
          <p:cNvSpPr>
            <a:spLocks noGrp="1"/>
          </p:cNvSpPr>
          <p:nvPr>
            <p:ph type="title"/>
          </p:nvPr>
        </p:nvSpPr>
        <p:spPr/>
        <p:txBody>
          <a:bodyPr/>
          <a:lstStyle/>
          <a:p>
            <a:r>
              <a:rPr lang="en-GB"/>
              <a:t>The Role of FastTrack</a:t>
            </a:r>
          </a:p>
        </p:txBody>
      </p:sp>
      <p:sp>
        <p:nvSpPr>
          <p:cNvPr id="6" name="Text Placeholder 5">
            <a:extLst>
              <a:ext uri="{FF2B5EF4-FFF2-40B4-BE49-F238E27FC236}">
                <a16:creationId xmlns:a16="http://schemas.microsoft.com/office/drawing/2014/main" id="{3858C028-4AE4-4BBE-94FB-B9D03D7ED23F}"/>
              </a:ext>
            </a:extLst>
          </p:cNvPr>
          <p:cNvSpPr>
            <a:spLocks noGrp="1"/>
          </p:cNvSpPr>
          <p:nvPr>
            <p:ph type="body" sz="quarter" idx="10"/>
          </p:nvPr>
        </p:nvSpPr>
        <p:spPr>
          <a:xfrm>
            <a:off x="269241" y="1189176"/>
            <a:ext cx="5378548" cy="4899803"/>
          </a:xfrm>
        </p:spPr>
        <p:txBody>
          <a:bodyPr/>
          <a:lstStyle/>
          <a:p>
            <a:r>
              <a:rPr lang="en-GB" sz="3200"/>
              <a:t>In Scope</a:t>
            </a:r>
          </a:p>
          <a:p>
            <a:pPr marL="571500" indent="-571500">
              <a:buFont typeface="Arial" panose="020B0604020202020204" pitchFamily="34" charset="0"/>
              <a:buChar char="•"/>
            </a:pPr>
            <a:r>
              <a:rPr lang="en-GB" sz="2400">
                <a:solidFill>
                  <a:schemeClr val="tx1"/>
                </a:solidFill>
                <a:latin typeface="+mn-lt"/>
              </a:rPr>
              <a:t>Review the answers provided </a:t>
            </a:r>
          </a:p>
          <a:p>
            <a:pPr marL="571500" indent="-571500">
              <a:buFont typeface="Arial" panose="020B0604020202020204" pitchFamily="34" charset="0"/>
              <a:buChar char="•"/>
            </a:pPr>
            <a:r>
              <a:rPr lang="en-GB" sz="2400">
                <a:solidFill>
                  <a:schemeClr val="tx1"/>
                </a:solidFill>
                <a:latin typeface="+mn-lt"/>
              </a:rPr>
              <a:t>Provide findings and recommendations following the workshop presentation</a:t>
            </a:r>
          </a:p>
          <a:p>
            <a:pPr marL="571500" indent="-571500">
              <a:buFont typeface="Arial" panose="020B0604020202020204" pitchFamily="34" charset="0"/>
              <a:buChar char="•"/>
            </a:pPr>
            <a:r>
              <a:rPr lang="en-GB" sz="2400">
                <a:solidFill>
                  <a:schemeClr val="tx1"/>
                </a:solidFill>
                <a:latin typeface="+mn-lt"/>
              </a:rPr>
              <a:t>Highlight technical and project risks and issues (including unrealistic product expectations)</a:t>
            </a:r>
          </a:p>
          <a:p>
            <a:pPr marL="571500" indent="-571500">
              <a:buFont typeface="Arial" panose="020B0604020202020204" pitchFamily="34" charset="0"/>
              <a:buChar char="•"/>
            </a:pPr>
            <a:r>
              <a:rPr lang="en-GB" sz="2400">
                <a:solidFill>
                  <a:schemeClr val="tx1"/>
                </a:solidFill>
                <a:latin typeface="+mn-lt"/>
              </a:rPr>
              <a:t>Point out gaps in the plan and solution strategy that can result in an unsuccessful implementation</a:t>
            </a:r>
          </a:p>
        </p:txBody>
      </p:sp>
      <p:sp>
        <p:nvSpPr>
          <p:cNvPr id="7" name="Text Placeholder 6">
            <a:extLst>
              <a:ext uri="{FF2B5EF4-FFF2-40B4-BE49-F238E27FC236}">
                <a16:creationId xmlns:a16="http://schemas.microsoft.com/office/drawing/2014/main" id="{11EF1AD8-8B3A-4133-A284-5E7968D490BC}"/>
              </a:ext>
            </a:extLst>
          </p:cNvPr>
          <p:cNvSpPr>
            <a:spLocks noGrp="1"/>
          </p:cNvSpPr>
          <p:nvPr>
            <p:ph type="body" sz="quarter" idx="11"/>
          </p:nvPr>
        </p:nvSpPr>
        <p:spPr>
          <a:xfrm>
            <a:off x="6544214" y="1189176"/>
            <a:ext cx="5378548" cy="4388894"/>
          </a:xfrm>
        </p:spPr>
        <p:txBody>
          <a:bodyPr/>
          <a:lstStyle/>
          <a:p>
            <a:r>
              <a:rPr lang="en-GB"/>
              <a:t>Out of Scope</a:t>
            </a:r>
          </a:p>
          <a:p>
            <a:pPr marL="571500" indent="-571500">
              <a:buFont typeface="Arial" panose="020B0604020202020204" pitchFamily="34" charset="0"/>
              <a:buChar char="•"/>
            </a:pPr>
            <a:r>
              <a:rPr lang="en-GB" sz="2400">
                <a:solidFill>
                  <a:schemeClr val="tx1"/>
                </a:solidFill>
                <a:latin typeface="+mn-lt"/>
              </a:rPr>
              <a:t>Create a solution architecture based on findings</a:t>
            </a:r>
          </a:p>
          <a:p>
            <a:pPr marL="571500" indent="-571500">
              <a:buFont typeface="Arial" panose="020B0604020202020204" pitchFamily="34" charset="0"/>
              <a:buChar char="•"/>
            </a:pPr>
            <a:r>
              <a:rPr lang="en-GB" sz="2400">
                <a:solidFill>
                  <a:schemeClr val="tx1"/>
                </a:solidFill>
                <a:latin typeface="+mn-lt"/>
              </a:rPr>
              <a:t>Decide on solutions that best fit gaps identified</a:t>
            </a:r>
          </a:p>
          <a:p>
            <a:pPr marL="571500" indent="-571500">
              <a:buFont typeface="Arial" panose="020B0604020202020204" pitchFamily="34" charset="0"/>
              <a:buChar char="•"/>
            </a:pPr>
            <a:r>
              <a:rPr lang="en-GB" sz="2400">
                <a:solidFill>
                  <a:schemeClr val="tx1"/>
                </a:solidFill>
                <a:latin typeface="+mn-lt"/>
              </a:rPr>
              <a:t>Code review</a:t>
            </a:r>
          </a:p>
          <a:p>
            <a:pPr marL="571500" indent="-571500">
              <a:buFont typeface="Arial" panose="020B0604020202020204" pitchFamily="34" charset="0"/>
              <a:buChar char="•"/>
            </a:pPr>
            <a:r>
              <a:rPr lang="en-GB" sz="2400">
                <a:solidFill>
                  <a:schemeClr val="tx1"/>
                </a:solidFill>
                <a:latin typeface="+mn-lt"/>
              </a:rPr>
              <a:t>Provide training on product features (user or administrative)</a:t>
            </a:r>
          </a:p>
          <a:p>
            <a:pPr marL="571500" indent="-571500">
              <a:buFont typeface="Arial" panose="020B0604020202020204" pitchFamily="34" charset="0"/>
              <a:buChar char="•"/>
            </a:pPr>
            <a:r>
              <a:rPr lang="en-GB" sz="2400">
                <a:solidFill>
                  <a:schemeClr val="tx1"/>
                </a:solidFill>
                <a:latin typeface="+mn-lt"/>
              </a:rPr>
              <a:t>Create comparison between ISV solutions</a:t>
            </a:r>
          </a:p>
        </p:txBody>
      </p:sp>
    </p:spTree>
    <p:extLst>
      <p:ext uri="{BB962C8B-B14F-4D97-AF65-F5344CB8AC3E}">
        <p14:creationId xmlns:p14="http://schemas.microsoft.com/office/powerpoint/2010/main" val="2179969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610B21-2ECC-44E0-86AF-D74811AF72AC}"/>
              </a:ext>
            </a:extLst>
          </p:cNvPr>
          <p:cNvSpPr>
            <a:spLocks noGrp="1"/>
          </p:cNvSpPr>
          <p:nvPr>
            <p:ph type="title"/>
          </p:nvPr>
        </p:nvSpPr>
        <p:spPr/>
        <p:txBody>
          <a:bodyPr/>
          <a:lstStyle/>
          <a:p>
            <a:r>
              <a:rPr lang="en-GB"/>
              <a:t>Instructions for Customer and Partner</a:t>
            </a:r>
          </a:p>
        </p:txBody>
      </p:sp>
      <p:sp>
        <p:nvSpPr>
          <p:cNvPr id="4" name="Content Placeholder 3">
            <a:extLst>
              <a:ext uri="{FF2B5EF4-FFF2-40B4-BE49-F238E27FC236}">
                <a16:creationId xmlns:a16="http://schemas.microsoft.com/office/drawing/2014/main" id="{7CE4786D-C856-4ED1-AD42-4D6D5704E74E}"/>
              </a:ext>
            </a:extLst>
          </p:cNvPr>
          <p:cNvSpPr>
            <a:spLocks noGrp="1"/>
          </p:cNvSpPr>
          <p:nvPr>
            <p:ph sz="quarter" idx="10"/>
          </p:nvPr>
        </p:nvSpPr>
        <p:spPr>
          <a:xfrm>
            <a:off x="412751" y="1838325"/>
            <a:ext cx="11309350" cy="3385542"/>
          </a:xfrm>
        </p:spPr>
        <p:txBody>
          <a:bodyPr/>
          <a:lstStyle/>
          <a:p>
            <a:pPr marL="457200" indent="-457200">
              <a:lnSpc>
                <a:spcPct val="100000"/>
              </a:lnSpc>
              <a:spcBef>
                <a:spcPts val="0"/>
              </a:spcBef>
              <a:spcAft>
                <a:spcPts val="1200"/>
              </a:spcAft>
              <a:buFont typeface="+mj-lt"/>
              <a:buAutoNum type="arabicPeriod"/>
            </a:pPr>
            <a:r>
              <a:rPr lang="en-GB" sz="2400"/>
              <a:t>Complete each slide providing the required information</a:t>
            </a:r>
          </a:p>
          <a:p>
            <a:pPr marL="457200" indent="-457200">
              <a:lnSpc>
                <a:spcPct val="100000"/>
              </a:lnSpc>
              <a:spcBef>
                <a:spcPts val="0"/>
              </a:spcBef>
              <a:spcAft>
                <a:spcPts val="1200"/>
              </a:spcAft>
              <a:buFont typeface="+mj-lt"/>
              <a:buAutoNum type="arabicPeriod"/>
            </a:pPr>
            <a:r>
              <a:rPr lang="en-GB" sz="2400"/>
              <a:t>Skip slides that are not applicable to your project</a:t>
            </a:r>
          </a:p>
          <a:p>
            <a:pPr marL="457200" indent="-457200">
              <a:lnSpc>
                <a:spcPct val="100000"/>
              </a:lnSpc>
              <a:spcBef>
                <a:spcPts val="0"/>
              </a:spcBef>
              <a:spcAft>
                <a:spcPts val="1200"/>
              </a:spcAft>
              <a:buFont typeface="+mj-lt"/>
              <a:buAutoNum type="arabicPeriod"/>
            </a:pPr>
            <a:r>
              <a:rPr lang="en-GB" sz="2400"/>
              <a:t>Extend topic area slides to capture the required information if needed. </a:t>
            </a:r>
            <a:br>
              <a:rPr lang="en-GB" sz="2400"/>
            </a:br>
            <a:r>
              <a:rPr lang="en-GB" sz="2400"/>
              <a:t>Do not hesitate to paste your own slides.</a:t>
            </a:r>
          </a:p>
          <a:p>
            <a:pPr marL="457200" indent="-457200">
              <a:lnSpc>
                <a:spcPct val="100000"/>
              </a:lnSpc>
              <a:spcBef>
                <a:spcPts val="0"/>
              </a:spcBef>
              <a:spcAft>
                <a:spcPts val="1200"/>
              </a:spcAft>
              <a:buFont typeface="+mj-lt"/>
              <a:buAutoNum type="arabicPeriod"/>
            </a:pPr>
            <a:r>
              <a:rPr lang="en-GB" sz="2400"/>
              <a:t>Reach out to your FastTrack SA if you have questions on the format or content</a:t>
            </a:r>
          </a:p>
          <a:p>
            <a:pPr marL="457200" indent="-457200">
              <a:lnSpc>
                <a:spcPct val="100000"/>
              </a:lnSpc>
              <a:spcBef>
                <a:spcPts val="0"/>
              </a:spcBef>
              <a:spcAft>
                <a:spcPts val="1200"/>
              </a:spcAft>
              <a:buFont typeface="+mj-lt"/>
              <a:buAutoNum type="arabicPeriod"/>
            </a:pPr>
            <a:r>
              <a:rPr lang="en-GB" sz="2400"/>
              <a:t>Send completed deck back to the FastTrack SA 5 business day before the scheduled Solution Blueprint workshop.</a:t>
            </a:r>
          </a:p>
        </p:txBody>
      </p:sp>
      <p:sp>
        <p:nvSpPr>
          <p:cNvPr id="2" name="Text Placeholder 1">
            <a:extLst>
              <a:ext uri="{FF2B5EF4-FFF2-40B4-BE49-F238E27FC236}">
                <a16:creationId xmlns:a16="http://schemas.microsoft.com/office/drawing/2014/main" id="{98ED09A5-A38C-4A4E-B308-A11A4BF5F4B8}"/>
              </a:ext>
            </a:extLst>
          </p:cNvPr>
          <p:cNvSpPr>
            <a:spLocks noGrp="1"/>
          </p:cNvSpPr>
          <p:nvPr>
            <p:ph type="body" sz="quarter" idx="11"/>
          </p:nvPr>
        </p:nvSpPr>
        <p:spPr>
          <a:xfrm>
            <a:off x="269875" y="1189038"/>
            <a:ext cx="11652250" cy="572464"/>
          </a:xfrm>
        </p:spPr>
        <p:txBody>
          <a:bodyPr/>
          <a:lstStyle/>
          <a:p>
            <a:r>
              <a:rPr lang="en-GB" sz="2800"/>
              <a:t>How to fill this PowerPoint document</a:t>
            </a:r>
          </a:p>
        </p:txBody>
      </p:sp>
    </p:spTree>
    <p:extLst>
      <p:ext uri="{BB962C8B-B14F-4D97-AF65-F5344CB8AC3E}">
        <p14:creationId xmlns:p14="http://schemas.microsoft.com/office/powerpoint/2010/main" val="130456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FCF57-F2A1-42EE-9165-46846F68AA78}"/>
              </a:ext>
            </a:extLst>
          </p:cNvPr>
          <p:cNvSpPr>
            <a:spLocks noGrp="1"/>
          </p:cNvSpPr>
          <p:nvPr>
            <p:ph type="title"/>
          </p:nvPr>
        </p:nvSpPr>
        <p:spPr>
          <a:xfrm>
            <a:off x="269240" y="2084173"/>
            <a:ext cx="11653523" cy="1181862"/>
          </a:xfrm>
        </p:spPr>
        <p:txBody>
          <a:bodyPr/>
          <a:lstStyle/>
          <a:p>
            <a:r>
              <a:rPr lang="en-GB" sz="7200">
                <a:solidFill>
                  <a:schemeClr val="tx1"/>
                </a:solidFill>
                <a:effectLst/>
                <a:latin typeface="Segoe UI" panose="020B0502040204020203" pitchFamily="34" charset="0"/>
                <a:ea typeface="Calibri" panose="020F0502020204030204" pitchFamily="34" charset="0"/>
                <a:cs typeface="Times New Roman" panose="02020603050405020304" pitchFamily="18" charset="0"/>
              </a:rPr>
              <a:t>BI</a:t>
            </a:r>
            <a:r>
              <a:rPr lang="en-GB" sz="7200">
                <a:solidFill>
                  <a:schemeClr val="tx1"/>
                </a:solidFill>
                <a:latin typeface="Segoe UI" panose="020B0502040204020203" pitchFamily="34" charset="0"/>
                <a:ea typeface="Calibri" panose="020F0502020204030204" pitchFamily="34" charset="0"/>
                <a:cs typeface="Times New Roman" panose="02020603050405020304" pitchFamily="18" charset="0"/>
              </a:rPr>
              <a:t> &amp; Reporting Planning</a:t>
            </a:r>
            <a:endParaRPr lang="en-US" sz="8000">
              <a:solidFill>
                <a:srgbClr val="505050"/>
              </a:solidFill>
              <a:effectLst/>
              <a:latin typeface="Segoe UI" panose="020B0502040204020203"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77218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dirty="0">
                <a:solidFill>
                  <a:schemeClr val="tx1"/>
                </a:solidFill>
              </a:rPr>
              <a:t>BI Design Blueprint</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about overall design, integrations points, involved systems – visual diagram </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hlinkClick r:id="rId3"/>
            <a:extLst>
              <a:ext uri="{FF2B5EF4-FFF2-40B4-BE49-F238E27FC236}">
                <a16:creationId xmlns:a16="http://schemas.microsoft.com/office/drawing/2014/main" id="{9A3A42AD-9245-4AFB-9483-C03A6B5A9A5C}"/>
              </a:ext>
            </a:extLst>
          </p:cNvPr>
          <p:cNvSpPr/>
          <p:nvPr/>
        </p:nvSpPr>
        <p:spPr>
          <a:xfrm>
            <a:off x="457200" y="2260290"/>
            <a:ext cx="11277600" cy="39322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rtl="0" fontAlgn="base"/>
            <a:r>
              <a:rPr lang="en-GB" sz="1600">
                <a:solidFill>
                  <a:srgbClr val="505050"/>
                </a:solidFill>
                <a:highlight>
                  <a:srgbClr val="FFFF00"/>
                </a:highlight>
                <a:latin typeface="Segoe UI" panose="020B0502040204020203" pitchFamily="34" charset="0"/>
              </a:rPr>
              <a:t>Please provide d</a:t>
            </a:r>
            <a:r>
              <a:rPr lang="en-GB" sz="1600" b="0" i="0" u="none" strike="noStrike">
                <a:solidFill>
                  <a:srgbClr val="505050"/>
                </a:solidFill>
                <a:effectLst/>
                <a:highlight>
                  <a:srgbClr val="FFFF00"/>
                </a:highlight>
                <a:latin typeface="Segoe UI" panose="020B0502040204020203" pitchFamily="34" charset="0"/>
              </a:rPr>
              <a:t>iagram showing the BI </a:t>
            </a:r>
            <a:r>
              <a:rPr lang="en-GB" sz="1600">
                <a:solidFill>
                  <a:srgbClr val="505050"/>
                </a:solidFill>
                <a:highlight>
                  <a:srgbClr val="FFFF00"/>
                </a:highlight>
                <a:latin typeface="Segoe UI" panose="020B0502040204020203" pitchFamily="34" charset="0"/>
              </a:rPr>
              <a:t>design </a:t>
            </a:r>
            <a:r>
              <a:rPr lang="en-GB" sz="1600" b="0" i="0" u="none" strike="noStrike">
                <a:solidFill>
                  <a:srgbClr val="505050"/>
                </a:solidFill>
                <a:effectLst/>
                <a:highlight>
                  <a:srgbClr val="FFFF00"/>
                </a:highlight>
                <a:latin typeface="Segoe UI" panose="020B0502040204020203" pitchFamily="34" charset="0"/>
              </a:rPr>
              <a:t>blueprint</a:t>
            </a:r>
            <a:r>
              <a:rPr lang="en-GB" sz="1600">
                <a:solidFill>
                  <a:srgbClr val="505050"/>
                </a:solidFill>
                <a:highlight>
                  <a:srgbClr val="FFFF00"/>
                </a:highlight>
                <a:latin typeface="Segoe UI" panose="020B0502040204020203" pitchFamily="34" charset="0"/>
              </a:rPr>
              <a:t>. Provide diagrams of current, planned systems.</a:t>
            </a:r>
            <a:r>
              <a:rPr lang="en-GB" sz="1600" b="0" i="0" u="none" strike="noStrike">
                <a:solidFill>
                  <a:srgbClr val="505050"/>
                </a:solidFill>
                <a:effectLst/>
                <a:highlight>
                  <a:srgbClr val="FFFF00"/>
                </a:highlight>
                <a:latin typeface="Segoe UI" panose="020B0502040204020203" pitchFamily="34" charset="0"/>
              </a:rPr>
              <a:t>​</a:t>
            </a:r>
          </a:p>
          <a:p>
            <a:pPr algn="ctr" rtl="0" fontAlgn="base"/>
            <a:endParaRPr lang="en-GB" sz="1600">
              <a:solidFill>
                <a:srgbClr val="505050"/>
              </a:solidFill>
              <a:highlight>
                <a:srgbClr val="FFFF00"/>
              </a:highlight>
              <a:latin typeface="Segoe UI" panose="020B0502040204020203" pitchFamily="34" charset="0"/>
            </a:endParaRPr>
          </a:p>
          <a:p>
            <a:pPr algn="ctr" rtl="0" fontAlgn="base"/>
            <a:endParaRPr lang="en-GB" sz="1600" b="0" i="0" u="none" strike="noStrike">
              <a:solidFill>
                <a:srgbClr val="505050"/>
              </a:solidFill>
              <a:effectLst/>
              <a:highlight>
                <a:srgbClr val="FFFF00"/>
              </a:highlight>
              <a:latin typeface="Segoe UI" panose="020B0502040204020203" pitchFamily="34" charset="0"/>
            </a:endParaRPr>
          </a:p>
        </p:txBody>
      </p:sp>
    </p:spTree>
    <p:extLst>
      <p:ext uri="{BB962C8B-B14F-4D97-AF65-F5344CB8AC3E}">
        <p14:creationId xmlns:p14="http://schemas.microsoft.com/office/powerpoint/2010/main" val="2941868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a:xfrm>
            <a:off x="268080" y="387647"/>
            <a:ext cx="11655840" cy="899665"/>
          </a:xfrm>
        </p:spPr>
        <p:txBody>
          <a:bodyPr/>
          <a:lstStyle/>
          <a:p>
            <a:r>
              <a:rPr lang="en-US" sz="4000">
                <a:solidFill>
                  <a:schemeClr val="tx1"/>
                </a:solidFill>
              </a:rPr>
              <a:t>BI &amp; Reporting Workstream</a:t>
            </a:r>
          </a:p>
        </p:txBody>
      </p:sp>
      <p:sp>
        <p:nvSpPr>
          <p:cNvPr id="15" name="Rectangle 14">
            <a:extLst>
              <a:ext uri="{FF2B5EF4-FFF2-40B4-BE49-F238E27FC236}">
                <a16:creationId xmlns:a16="http://schemas.microsoft.com/office/drawing/2014/main" id="{BDD64BFD-7ED9-4476-ABC3-6BBAC4A275B2}"/>
              </a:ext>
            </a:extLst>
          </p:cNvPr>
          <p:cNvSpPr/>
          <p:nvPr/>
        </p:nvSpPr>
        <p:spPr>
          <a:xfrm>
            <a:off x="432398" y="1366607"/>
            <a:ext cx="11327204" cy="616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r>
              <a:rPr lang="en-US" sz="1600">
                <a:solidFill>
                  <a:schemeClr val="tx1"/>
                </a:solidFill>
              </a:rPr>
              <a:t>Details on BI and reporting workstream structure. </a:t>
            </a:r>
          </a:p>
        </p:txBody>
      </p:sp>
      <p:sp>
        <p:nvSpPr>
          <p:cNvPr id="9" name="Rectangle 8">
            <a:extLst>
              <a:ext uri="{FF2B5EF4-FFF2-40B4-BE49-F238E27FC236}">
                <a16:creationId xmlns:a16="http://schemas.microsoft.com/office/drawing/2014/main" id="{5F10B7DA-EBAD-49D8-8636-A3336D68F659}"/>
              </a:ext>
            </a:extLst>
          </p:cNvPr>
          <p:cNvSpPr/>
          <p:nvPr/>
        </p:nvSpPr>
        <p:spPr>
          <a:xfrm>
            <a:off x="8392668" y="0"/>
            <a:ext cx="3799332"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a:solidFill>
                  <a:schemeClr val="bg1"/>
                </a:solidFill>
                <a:latin typeface="+mj-lt"/>
              </a:rPr>
              <a:t>Customer slide (please update)</a:t>
            </a:r>
          </a:p>
        </p:txBody>
      </p:sp>
      <p:sp>
        <p:nvSpPr>
          <p:cNvPr id="7" name="Rectangle 6">
            <a:extLst>
              <a:ext uri="{FF2B5EF4-FFF2-40B4-BE49-F238E27FC236}">
                <a16:creationId xmlns:a16="http://schemas.microsoft.com/office/drawing/2014/main" id="{9A3A42AD-9245-4AFB-9483-C03A6B5A9A5C}"/>
              </a:ext>
            </a:extLst>
          </p:cNvPr>
          <p:cNvSpPr/>
          <p:nvPr/>
        </p:nvSpPr>
        <p:spPr>
          <a:xfrm>
            <a:off x="482002" y="2305038"/>
            <a:ext cx="11277600" cy="421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i="1">
                <a:solidFill>
                  <a:schemeClr val="tx1"/>
                </a:solidFill>
                <a:highlight>
                  <a:srgbClr val="FFFF00"/>
                </a:highlight>
              </a:rPr>
              <a:t>Add info:</a:t>
            </a:r>
            <a:endParaRPr lang="en-GB" sz="1600">
              <a:solidFill>
                <a:schemeClr val="tx1"/>
              </a:solidFill>
            </a:endParaRPr>
          </a:p>
          <a:p>
            <a:pPr algn="ctr" rtl="0" fontAlgn="base"/>
            <a:r>
              <a:rPr lang="en-GB" sz="1600" b="0" i="0" u="none" strike="noStrike">
                <a:solidFill>
                  <a:srgbClr val="505050"/>
                </a:solidFill>
                <a:effectLst/>
                <a:highlight>
                  <a:srgbClr val="FFFF00"/>
                </a:highlight>
                <a:latin typeface="Segoe UI" panose="020B0502040204020203" pitchFamily="34" charset="0"/>
              </a:rPr>
              <a:t>Please provide reporting and BI workstream details, team structures, roles and responsibilities. </a:t>
            </a:r>
            <a:r>
              <a:rPr lang="en-GB" sz="1600">
                <a:solidFill>
                  <a:srgbClr val="505050"/>
                </a:solidFill>
                <a:highlight>
                  <a:srgbClr val="FFFF00"/>
                </a:highlight>
                <a:latin typeface="Segoe UI" panose="020B0502040204020203" pitchFamily="34" charset="0"/>
              </a:rPr>
              <a:t>Details can be provided as list or visual diagram.</a:t>
            </a:r>
            <a:r>
              <a:rPr lang="en-GB" sz="1600" b="0" i="0" u="none" strike="noStrike">
                <a:solidFill>
                  <a:srgbClr val="505050"/>
                </a:solidFill>
                <a:effectLst/>
                <a:highlight>
                  <a:srgbClr val="FFFF00"/>
                </a:highlight>
                <a:latin typeface="Segoe UI" panose="020B0502040204020203" pitchFamily="34" charset="0"/>
              </a:rPr>
              <a:t>​</a:t>
            </a:r>
          </a:p>
          <a:p>
            <a:pPr algn="ctr" rtl="0" fontAlgn="base"/>
            <a:endParaRPr lang="en-GB" sz="1600">
              <a:solidFill>
                <a:srgbClr val="505050"/>
              </a:solidFill>
              <a:highlight>
                <a:srgbClr val="FFFF00"/>
              </a:highlight>
              <a:latin typeface="Segoe UI" panose="020B0502040204020203" pitchFamily="34" charset="0"/>
            </a:endParaRPr>
          </a:p>
          <a:p>
            <a:pPr algn="ctr" rtl="0" fontAlgn="base"/>
            <a:r>
              <a:rPr lang="en-US" sz="1600" b="0" i="0">
                <a:effectLst/>
                <a:highlight>
                  <a:srgbClr val="FFFF00"/>
                </a:highlight>
                <a:latin typeface="Segoe UI" panose="020B0502040204020203" pitchFamily="34" charset="0"/>
              </a:rPr>
              <a:t>​</a:t>
            </a:r>
            <a:endParaRPr lang="en-US" sz="1600" b="0" i="0">
              <a:effectLst/>
              <a:highlight>
                <a:srgbClr val="FFFF00"/>
              </a:highlight>
            </a:endParaRPr>
          </a:p>
        </p:txBody>
      </p:sp>
    </p:spTree>
    <p:extLst>
      <p:ext uri="{BB962C8B-B14F-4D97-AF65-F5344CB8AC3E}">
        <p14:creationId xmlns:p14="http://schemas.microsoft.com/office/powerpoint/2010/main" val="2345068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dWOKmPFLDgGZxGfiF.s1w"/>
</p:tagLst>
</file>

<file path=ppt/theme/theme1.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ontrol xmlns="http://schemas.microsoft.com/VisualStudio/2011/storyboarding/control">
  <Id Name="System.Storyboarding.WindowsAppIcons.Web" Revision="1" Stencil="System.Storyboarding.WindowsAppIcons" StencilVersion="0.1"/>
</Control>
</file>

<file path=customXml/item3.xml><?xml version="1.0" encoding="utf-8"?>
<ct:contentTypeSchema xmlns:ct="http://schemas.microsoft.com/office/2006/metadata/contentType" xmlns:ma="http://schemas.microsoft.com/office/2006/metadata/properties/metaAttributes" ct:_="" ma:_="" ma:contentTypeName="Document" ma:contentTypeID="0x0101003C23B1A370DB454895F1017B66A82434" ma:contentTypeVersion="18" ma:contentTypeDescription="Crée un document." ma:contentTypeScope="" ma:versionID="7c9472313940c07e45c4109cb65aad82">
  <xsd:schema xmlns:xsd="http://www.w3.org/2001/XMLSchema" xmlns:xs="http://www.w3.org/2001/XMLSchema" xmlns:p="http://schemas.microsoft.com/office/2006/metadata/properties" xmlns:ns1="http://schemas.microsoft.com/sharepoint/v3" xmlns:ns2="8e793c00-403c-4e2e-9f3f-1f9fce3bba0e" xmlns:ns3="21801293-8b26-4deb-98c0-71fc7c1e1877" xmlns:ns4="230e9df3-be65-4c73-a93b-d1236ebd677e" targetNamespace="http://schemas.microsoft.com/office/2006/metadata/properties" ma:root="true" ma:fieldsID="11597418ad19d186cc7282dbc93663a7" ns1:_="" ns2:_="" ns3:_="" ns4:_="">
    <xsd:import namespace="http://schemas.microsoft.com/sharepoint/v3"/>
    <xsd:import namespace="8e793c00-403c-4e2e-9f3f-1f9fce3bba0e"/>
    <xsd:import namespace="21801293-8b26-4deb-98c0-71fc7c1e1877"/>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element ref="ns1:_ip_UnifiedCompliancePolicyProperties" minOccurs="0"/>
                <xsd:element ref="ns1:_ip_UnifiedCompliancePolicyUIAction" minOccurs="0"/>
                <xsd:element ref="ns2:MediaLengthInSeconds" minOccurs="0"/>
                <xsd:element ref="ns2:MediaServiceLocation" minOccurs="0"/>
                <xsd:element ref="ns2:MediaServiceGenerationTime" minOccurs="0"/>
                <xsd:element ref="ns2:MediaServiceEventHashCode" minOccurs="0"/>
                <xsd:element ref="ns2:MediaServiceOCR"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Propriétés de la stratégie de conformité unifiée" ma:hidden="true" ma:internalName="_ip_UnifiedCompliancePolicyProperties">
      <xsd:simpleType>
        <xsd:restriction base="dms:Note"/>
      </xsd:simpleType>
    </xsd:element>
    <xsd:element name="_ip_UnifiedCompliancePolicyUIAction" ma:index="16" nillable="true" ma:displayName="Action d’interface utilisateur de la stratégie de conformité unifié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793c00-403c-4e2e-9f3f-1f9fce3bba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lcf76f155ced4ddcb4097134ff3c332f" ma:index="23" nillable="true" ma:taxonomy="true" ma:internalName="lcf76f155ced4ddcb4097134ff3c332f" ma:taxonomyFieldName="MediaServiceImageTags" ma:displayName="Balises d’image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1801293-8b26-4deb-98c0-71fc7c1e1877" elementFormDefault="qualified">
    <xsd:import namespace="http://schemas.microsoft.com/office/2006/documentManagement/types"/>
    <xsd:import namespace="http://schemas.microsoft.com/office/infopath/2007/PartnerControls"/>
    <xsd:element name="SharedWithUsers" ma:index="11"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418f9c09-66a8-4419-a52a-65cd19081897}" ma:internalName="TaxCatchAll" ma:showField="CatchAllData" ma:web="21801293-8b26-4deb-98c0-71fc7c1e187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lcf76f155ced4ddcb4097134ff3c332f xmlns="8e793c00-403c-4e2e-9f3f-1f9fce3bba0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E1882E7-9227-4C06-A2E1-D3F4BF0D38BE}">
  <ds:schemaRefs>
    <ds:schemaRef ds:uri="http://schemas.microsoft.com/sharepoint/v3/contenttype/forms"/>
  </ds:schemaRefs>
</ds:datastoreItem>
</file>

<file path=customXml/itemProps2.xml><?xml version="1.0" encoding="utf-8"?>
<ds:datastoreItem xmlns:ds="http://schemas.openxmlformats.org/officeDocument/2006/customXml" ds:itemID="{69E592DB-7878-4072-B210-6383350E3C66}">
  <ds:schemaRefs>
    <ds:schemaRef ds:uri="http://schemas.microsoft.com/VisualStudio/2011/storyboarding/control"/>
  </ds:schemaRefs>
</ds:datastoreItem>
</file>

<file path=customXml/itemProps3.xml><?xml version="1.0" encoding="utf-8"?>
<ds:datastoreItem xmlns:ds="http://schemas.openxmlformats.org/officeDocument/2006/customXml" ds:itemID="{038977EB-231D-4829-BB39-B7FB05C8CA38}"/>
</file>

<file path=customXml/itemProps4.xml><?xml version="1.0" encoding="utf-8"?>
<ds:datastoreItem xmlns:ds="http://schemas.openxmlformats.org/officeDocument/2006/customXml" ds:itemID="{807D7729-9157-422A-A322-F886DC74C10E}">
  <ds:schemaRefs>
    <ds:schemaRef ds:uri="21801293-8b26-4deb-98c0-71fc7c1e1877"/>
    <ds:schemaRef ds:uri="8e793c00-403c-4e2e-9f3f-1f9fce3bba0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 ds:uri="230e9df3-be65-4c73-a93b-d1236ebd677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0</TotalTime>
  <Words>1265</Words>
  <Application>Microsoft Office PowerPoint</Application>
  <PresentationFormat>Widescreen</PresentationFormat>
  <Paragraphs>168</Paragraphs>
  <Slides>20</Slides>
  <Notes>1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20</vt:i4>
      </vt:variant>
    </vt:vector>
  </HeadingPairs>
  <TitlesOfParts>
    <vt:vector size="27" baseType="lpstr">
      <vt:lpstr>Calibri</vt:lpstr>
      <vt:lpstr>Calibri Light</vt:lpstr>
      <vt:lpstr>Segoe UI</vt:lpstr>
      <vt:lpstr>Segoe UI Semibold</vt:lpstr>
      <vt:lpstr>Microsoft Dynamics 365</vt:lpstr>
      <vt:lpstr>think-cell Slide</vt:lpstr>
      <vt:lpstr>Worksheet</vt:lpstr>
      <vt:lpstr>PowerPoint Presentation</vt:lpstr>
      <vt:lpstr>Introductions</vt:lpstr>
      <vt:lpstr>Success by Design</vt:lpstr>
      <vt:lpstr>Business Intelligence and Analytics Workshop Agenda</vt:lpstr>
      <vt:lpstr>The Role of FastTrack</vt:lpstr>
      <vt:lpstr>Instructions for Customer and Partner</vt:lpstr>
      <vt:lpstr>BI &amp; Reporting Planning</vt:lpstr>
      <vt:lpstr>BI Design Blueprint</vt:lpstr>
      <vt:lpstr>BI &amp; Reporting Workstream</vt:lpstr>
      <vt:lpstr>BI &amp; Reporting Project Plan </vt:lpstr>
      <vt:lpstr>Requirements and Fit Gaps</vt:lpstr>
      <vt:lpstr>BI &amp; Reporting Solution Strategy</vt:lpstr>
      <vt:lpstr>Self-Serve Reporting</vt:lpstr>
      <vt:lpstr>Operational Reporting</vt:lpstr>
      <vt:lpstr>Regulatory and Financial Reporting (F&amp;O)</vt:lpstr>
      <vt:lpstr>Printing Strategy (F&amp;O)</vt:lpstr>
      <vt:lpstr>Strategic Reporting</vt:lpstr>
      <vt:lpstr>Data Security</vt:lpstr>
      <vt:lpstr>Q&amp;A</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Track for Microsoft Dynamics 365 for Customer Engagement</dc:title>
  <dc:creator>Pedro Sacramento</dc:creator>
  <cp:lastModifiedBy>Severin Bock</cp:lastModifiedBy>
  <cp:revision>3</cp:revision>
  <dcterms:created xsi:type="dcterms:W3CDTF">2019-03-30T00:28:33Z</dcterms:created>
  <dcterms:modified xsi:type="dcterms:W3CDTF">2021-11-24T08:0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23B1A370DB454895F1017B66A82434</vt:lpwstr>
  </property>
  <property fmtid="{D5CDD505-2E9C-101B-9397-08002B2CF9AE}" pid="3" name="AuthorIds_UIVersion_512">
    <vt:lpwstr>68</vt:lpwstr>
  </property>
  <property fmtid="{D5CDD505-2E9C-101B-9397-08002B2CF9AE}" pid="4" name="MediaServiceImageTags">
    <vt:lpwstr/>
  </property>
</Properties>
</file>